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  <p:sldMasterId id="2147483683" r:id="rId2"/>
    <p:sldMasterId id="2147483693" r:id="rId3"/>
    <p:sldMasterId id="2147483703" r:id="rId4"/>
    <p:sldMasterId id="2147483713" r:id="rId5"/>
    <p:sldMasterId id="2147483741" r:id="rId6"/>
  </p:sldMasterIdLst>
  <p:notesMasterIdLst>
    <p:notesMasterId r:id="rId22"/>
  </p:notesMasterIdLst>
  <p:handoutMasterIdLst>
    <p:handoutMasterId r:id="rId23"/>
  </p:handoutMasterIdLst>
  <p:sldIdLst>
    <p:sldId id="294" r:id="rId7"/>
    <p:sldId id="322" r:id="rId8"/>
    <p:sldId id="306" r:id="rId9"/>
    <p:sldId id="321" r:id="rId10"/>
    <p:sldId id="304" r:id="rId11"/>
    <p:sldId id="301" r:id="rId12"/>
    <p:sldId id="296" r:id="rId13"/>
    <p:sldId id="307" r:id="rId14"/>
    <p:sldId id="319" r:id="rId15"/>
    <p:sldId id="311" r:id="rId16"/>
    <p:sldId id="314" r:id="rId17"/>
    <p:sldId id="315" r:id="rId18"/>
    <p:sldId id="317" r:id="rId19"/>
    <p:sldId id="320" r:id="rId20"/>
    <p:sldId id="318" r:id="rId21"/>
  </p:sldIdLst>
  <p:sldSz cx="10691813" cy="7559675"/>
  <p:notesSz cx="6811963" cy="9942513"/>
  <p:custDataLst>
    <p:tags r:id="rId24"/>
  </p:custDataLst>
  <p:defaultTextStyle>
    <a:defPPr>
      <a:defRPr lang="cs-CZ"/>
    </a:defPPr>
    <a:lvl1pPr marL="0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37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74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114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487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858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7BC772CA-028E-4272-9DDD-F44CC7E230B9}">
          <p14:sldIdLst>
            <p14:sldId id="294"/>
            <p14:sldId id="322"/>
            <p14:sldId id="306"/>
            <p14:sldId id="321"/>
            <p14:sldId id="304"/>
            <p14:sldId id="301"/>
            <p14:sldId id="296"/>
            <p14:sldId id="307"/>
            <p14:sldId id="319"/>
            <p14:sldId id="311"/>
            <p14:sldId id="314"/>
            <p14:sldId id="315"/>
            <p14:sldId id="317"/>
            <p14:sldId id="320"/>
            <p14:sldId id="318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4172" userDrawn="1">
          <p15:clr>
            <a:srgbClr val="A4A3A4"/>
          </p15:clr>
        </p15:guide>
        <p15:guide id="3" orient="horz" pos="907" userDrawn="1">
          <p15:clr>
            <a:srgbClr val="A4A3A4"/>
          </p15:clr>
        </p15:guide>
        <p15:guide id="4" pos="216" userDrawn="1">
          <p15:clr>
            <a:srgbClr val="A4A3A4"/>
          </p15:clr>
        </p15:guide>
        <p15:guide id="5" pos="651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6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kulasek, Marek (PSW-V)" initials="MM(" lastIdx="4" clrIdx="0">
    <p:extLst>
      <p:ext uri="{19B8F6BF-5375-455C-9EA6-DF929625EA0E}">
        <p15:presenceInfo xmlns:p15="http://schemas.microsoft.com/office/powerpoint/2012/main" userId="S-1-5-21-8915387-588726319-1714775081-23839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Světlý styl 2 – zvýraznění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Střední styl 1 – zvýraznění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68" autoAdjust="0"/>
    <p:restoredTop sz="90116" autoAdjust="0"/>
  </p:normalViewPr>
  <p:slideViewPr>
    <p:cSldViewPr snapToGrid="0">
      <p:cViewPr varScale="1">
        <p:scale>
          <a:sx n="94" d="100"/>
          <a:sy n="94" d="100"/>
        </p:scale>
        <p:origin x="1710" y="114"/>
      </p:cViewPr>
      <p:guideLst>
        <p:guide orient="horz" pos="4172"/>
        <p:guide orient="horz" pos="907"/>
        <p:guide pos="216"/>
        <p:guide pos="6519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>
        <p:scale>
          <a:sx n="75" d="100"/>
          <a:sy n="75" d="100"/>
        </p:scale>
        <p:origin x="2938" y="130"/>
      </p:cViewPr>
      <p:guideLst>
        <p:guide orient="horz" pos="3132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036216555020183E-2"/>
          <c:y val="4.4609335379822354E-2"/>
          <c:w val="0.36862939240803849"/>
          <c:h val="0.95539066462017763"/>
        </c:manualLayout>
      </c:layout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Hodnota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</c:spPr>
            <c:extLst>
              <c:ext xmlns:c16="http://schemas.microsoft.com/office/drawing/2014/chart" uri="{C3380CC4-5D6E-409C-BE32-E72D297353CC}">
                <c16:uniqueId val="{00000001-0DE8-4A81-BF07-8839B12516AA}"/>
              </c:ext>
            </c:extLst>
          </c:dPt>
          <c:dPt>
            <c:idx val="1"/>
            <c:bubble3D val="0"/>
            <c:explosion val="108"/>
            <c:spPr>
              <a:pattFill prst="dkUpDiag">
                <a:fgClr>
                  <a:schemeClr val="tx1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3-0DE8-4A81-BF07-8839B12516AA}"/>
              </c:ext>
            </c:extLst>
          </c:dPt>
          <c:dPt>
            <c:idx val="2"/>
            <c:bubble3D val="0"/>
            <c:spPr>
              <a:pattFill prst="ltDnDiag">
                <a:fgClr>
                  <a:schemeClr val="accent2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5-0DE8-4A81-BF07-8839B12516AA}"/>
              </c:ext>
            </c:extLst>
          </c:dPt>
          <c:dPt>
            <c:idx val="3"/>
            <c:bubble3D val="0"/>
            <c:spPr>
              <a:pattFill prst="ltHorz">
                <a:fgClr>
                  <a:schemeClr val="accent3"/>
                </a:fgClr>
                <a:bgClr>
                  <a:schemeClr val="bg1"/>
                </a:bgClr>
              </a:pattFill>
            </c:spPr>
            <c:extLst>
              <c:ext xmlns:c16="http://schemas.microsoft.com/office/drawing/2014/chart" uri="{C3380CC4-5D6E-409C-BE32-E72D297353CC}">
                <c16:uniqueId val="{00000007-0DE8-4A81-BF07-8839B12516AA}"/>
              </c:ext>
            </c:extLst>
          </c:dPt>
          <c:dLbls>
            <c:dLbl>
              <c:idx val="0"/>
              <c:layout>
                <c:manualLayout>
                  <c:x val="0.10696517412935323"/>
                  <c:y val="0.22928335014895115"/>
                </c:manualLayout>
              </c:layout>
              <c:tx>
                <c:rich>
                  <a:bodyPr/>
                  <a:lstStyle/>
                  <a:p>
                    <a:pPr>
                      <a:defRPr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defRPr>
                    </a:pPr>
                    <a:r>
                      <a:rPr lang="en-US" dirty="0" err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Strojní</a:t>
                    </a:r>
                    <a:r>
                      <a:rPr lang="en-US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 </a:t>
                    </a:r>
                    <a:r>
                      <a:rPr lang="en-US" dirty="0" err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výroba</a:t>
                    </a:r>
                    <a:r>
                      <a:rPr lang="en-US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 </a:t>
                    </a:r>
                    <a:r>
                      <a:rPr lang="en-US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 </a:t>
                    </a:r>
                    <a:endParaRPr lang="en-US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endParaRPr>
                  </a:p>
                  <a:p>
                    <a:pPr>
                      <a:defRPr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defRPr>
                    </a:pPr>
                    <a:r>
                      <a:rPr lang="en-US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55 </a:t>
                    </a:r>
                    <a:r>
                      <a:rPr lang="en-US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VD </a:t>
                    </a:r>
                    <a:endParaRPr lang="en-US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endParaRPr>
                  </a:p>
                  <a:p>
                    <a:pPr>
                      <a:defRPr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defRPr>
                    </a:pPr>
                    <a:r>
                      <a:rPr lang="en-US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94 910 </a:t>
                    </a:r>
                    <a:r>
                      <a:rPr lang="en-US" dirty="0" err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Nh</a:t>
                    </a:r>
                    <a:endParaRPr lang="en-US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0DE8-4A81-BF07-8839B12516AA}"/>
                </c:ext>
              </c:extLst>
            </c:dLbl>
            <c:dLbl>
              <c:idx val="1"/>
              <c:layout>
                <c:manualLayout>
                  <c:x val="-0.17549634852300977"/>
                  <c:y val="-0.36834839004499437"/>
                </c:manualLayout>
              </c:layout>
              <c:tx>
                <c:rich>
                  <a:bodyPr/>
                  <a:lstStyle/>
                  <a:p>
                    <a:r>
                      <a:rPr lang="pt-BR" dirty="0" smtClean="0"/>
                      <a:t>Externí </a:t>
                    </a:r>
                    <a:r>
                      <a:rPr lang="pt-BR" dirty="0"/>
                      <a:t>kooperace; </a:t>
                    </a:r>
                    <a:endParaRPr lang="pt-BR" dirty="0" smtClean="0"/>
                  </a:p>
                  <a:p>
                    <a:r>
                      <a:rPr lang="pt-BR" b="1" dirty="0" smtClean="0"/>
                      <a:t>40 – 100 tis. </a:t>
                    </a:r>
                    <a:r>
                      <a:rPr lang="pt-BR" b="1" dirty="0"/>
                      <a:t>Nh</a:t>
                    </a:r>
                    <a:endParaRPr lang="pt-BR" b="1" baseline="0" dirty="0" smtClean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0DE8-4A81-BF07-8839B12516AA}"/>
                </c:ext>
              </c:extLst>
            </c:dLbl>
            <c:dLbl>
              <c:idx val="3"/>
              <c:layout>
                <c:manualLayout>
                  <c:x val="6.8001391799268257E-2"/>
                  <c:y val="-0.12458685584223847"/>
                </c:manualLayout>
              </c:layout>
              <c:tx>
                <c:rich>
                  <a:bodyPr/>
                  <a:lstStyle/>
                  <a:p>
                    <a:pPr>
                      <a:defRPr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defRPr>
                    </a:pPr>
                    <a:r>
                      <a:rPr lang="en-US" dirty="0" err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Ruční</a:t>
                    </a:r>
                    <a:r>
                      <a:rPr lang="en-US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 </a:t>
                    </a:r>
                    <a:r>
                      <a:rPr lang="en-US" dirty="0" err="1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výroba</a:t>
                    </a:r>
                    <a:r>
                      <a:rPr lang="en-US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 </a:t>
                    </a:r>
                    <a:r>
                      <a:rPr lang="en-US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 </a:t>
                    </a:r>
                    <a:endParaRPr lang="en-US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endParaRPr>
                  </a:p>
                  <a:p>
                    <a:pPr>
                      <a:defRPr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defRPr>
                    </a:pPr>
                    <a:r>
                      <a:rPr lang="en-US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45 </a:t>
                    </a:r>
                    <a:r>
                      <a:rPr lang="en-US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VD </a:t>
                    </a:r>
                  </a:p>
                  <a:p>
                    <a:pPr>
                      <a:defRPr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defRPr>
                    </a:pPr>
                    <a:r>
                      <a:rPr lang="en-US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69 000 </a:t>
                    </a:r>
                    <a:r>
                      <a:rPr lang="en-US" dirty="0" err="1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rPr>
                      <a:t>Nh</a:t>
                    </a:r>
                    <a:endParaRPr lang="en-US" dirty="0"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621890547263683"/>
                      <c:h val="0.3004114223763829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DE8-4A81-BF07-8839B12516A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5</c:f>
              <c:strCache>
                <c:ptCount val="4"/>
                <c:pt idx="0">
                  <c:v>Strojní výroba - 55 VD</c:v>
                </c:pt>
                <c:pt idx="1">
                  <c:v>Externí kooperace</c:v>
                </c:pt>
                <c:pt idx="3">
                  <c:v>Ruční výroba - 45 VD</c:v>
                </c:pt>
              </c:strCache>
            </c:strRef>
          </c:cat>
          <c:val>
            <c:numRef>
              <c:f>List1!$B$2:$B$5</c:f>
              <c:numCache>
                <c:formatCode>#,##0" Nh"</c:formatCode>
                <c:ptCount val="4"/>
                <c:pt idx="0">
                  <c:v>110000</c:v>
                </c:pt>
                <c:pt idx="1">
                  <c:v>60000</c:v>
                </c:pt>
                <c:pt idx="3">
                  <c:v>9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DE8-4A81-BF07-8839B12516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254"/>
      </c:pieChart>
    </c:plotArea>
    <c:plotVisOnly val="1"/>
    <c:dispBlanksAs val="gap"/>
    <c:showDLblsOverMax val="0"/>
  </c:chart>
  <c:txPr>
    <a:bodyPr/>
    <a:lstStyle/>
    <a:p>
      <a:pPr>
        <a:defRPr sz="2000">
          <a:latin typeface="SKODA Next" panose="020B0504020603020204" pitchFamily="34" charset="0"/>
          <a:ea typeface="Verdana" pitchFamily="34" charset="0"/>
          <a:cs typeface="Verdana" pitchFamily="34" charset="0"/>
        </a:defRPr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pPr>
            <a:r>
              <a:rPr lang="cs-CZ" sz="2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jekty</a:t>
            </a:r>
            <a:r>
              <a:rPr lang="en-US" sz="20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ŠKODA</a:t>
            </a:r>
          </a:p>
        </c:rich>
      </c:tx>
      <c:layout>
        <c:manualLayout>
          <c:xMode val="edge"/>
          <c:yMode val="edge"/>
          <c:x val="0.3335718563005331"/>
          <c:y val="7.023569934294177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defRPr>
          </a:pPr>
          <a:endParaRPr lang="cs-CZ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Zakázky ŠKODA</c:v>
                </c:pt>
              </c:strCache>
            </c:strRef>
          </c:tx>
          <c:dPt>
            <c:idx val="0"/>
            <c:bubble3D val="0"/>
            <c:spPr>
              <a:solidFill>
                <a:srgbClr val="FFFF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419-4053-9B81-028D408C9AE5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F0D-4A7F-820D-2FED02E33C48}"/>
              </c:ext>
            </c:extLst>
          </c:dPt>
          <c:dPt>
            <c:idx val="2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D419-4053-9B81-028D408C9AE5}"/>
              </c:ext>
            </c:extLst>
          </c:dPt>
          <c:dPt>
            <c:idx val="3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F0D-4A7F-820D-2FED02E33C48}"/>
              </c:ext>
            </c:extLst>
          </c:dPt>
          <c:dPt>
            <c:idx val="4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F0D-4A7F-820D-2FED02E33C48}"/>
              </c:ext>
            </c:extLst>
          </c:dPt>
          <c:dPt>
            <c:idx val="5"/>
            <c:bubble3D val="0"/>
            <c:spPr>
              <a:solidFill>
                <a:schemeClr val="bg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419-4053-9B81-028D408C9AE5}"/>
              </c:ext>
            </c:extLst>
          </c:dPt>
          <c:dPt>
            <c:idx val="6"/>
            <c:bubble3D val="0"/>
            <c:spPr>
              <a:solidFill>
                <a:schemeClr val="tx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D419-4053-9B81-028D408C9AE5}"/>
              </c:ext>
            </c:extLst>
          </c:dPt>
          <c:dLbls>
            <c:dLbl>
              <c:idx val="5"/>
              <c:layout>
                <c:manualLayout>
                  <c:x val="6.8885599746623838E-2"/>
                  <c:y val="0.10724284979633851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D419-4053-9B81-028D408C9AE5}"/>
                </c:ext>
              </c:extLst>
            </c:dLbl>
            <c:dLbl>
              <c:idx val="6"/>
              <c:layout>
                <c:manualLayout>
                  <c:x val="2.4125469047033853E-2"/>
                  <c:y val="8.770090508699381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D419-4053-9B81-028D408C9A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estFit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List1!$A$2:$A$8</c:f>
              <c:strCache>
                <c:ptCount val="7"/>
                <c:pt idx="0">
                  <c:v>SK316/5</c:v>
                </c:pt>
                <c:pt idx="1">
                  <c:v>SK316/6</c:v>
                </c:pt>
                <c:pt idx="2">
                  <c:v>SK382</c:v>
                </c:pt>
                <c:pt idx="3">
                  <c:v>SK381</c:v>
                </c:pt>
                <c:pt idx="4">
                  <c:v>SK370/4</c:v>
                </c:pt>
                <c:pt idx="5">
                  <c:v>SK370/3</c:v>
                </c:pt>
                <c:pt idx="6">
                  <c:v>SK270</c:v>
                </c:pt>
              </c:strCache>
            </c:strRef>
          </c:cat>
          <c:val>
            <c:numRef>
              <c:f>List1!$B$2:$B$8</c:f>
              <c:numCache>
                <c:formatCode>General</c:formatCode>
                <c:ptCount val="7"/>
                <c:pt idx="0">
                  <c:v>33793</c:v>
                </c:pt>
                <c:pt idx="1">
                  <c:v>15198</c:v>
                </c:pt>
                <c:pt idx="2">
                  <c:v>8275</c:v>
                </c:pt>
                <c:pt idx="3">
                  <c:v>23699</c:v>
                </c:pt>
                <c:pt idx="4">
                  <c:v>21786</c:v>
                </c:pt>
                <c:pt idx="5">
                  <c:v>6798</c:v>
                </c:pt>
                <c:pt idx="6">
                  <c:v>47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19-4053-9B81-028D408C9A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EDEDB0A-D96F-4C9D-A19B-342B2F3B1A1C}" type="doc">
      <dgm:prSet loTypeId="urn:microsoft.com/office/officeart/2005/8/layout/matrix1" loCatId="matrix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cs-CZ"/>
        </a:p>
      </dgm:t>
    </dgm:pt>
    <dgm:pt modelId="{E3E0A2B3-DE7D-44D4-9F38-925DD567D410}">
      <dgm:prSet phldrT="[Text]" custT="1"/>
      <dgm:spPr/>
      <dgm:t>
        <a:bodyPr lIns="0" tIns="324000" rIns="0"/>
        <a:lstStyle/>
        <a:p>
          <a:pPr algn="ctr"/>
          <a:r>
            <a:rPr lang="cs-CZ" sz="20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PROGRAMOVÁNÍ</a:t>
          </a:r>
          <a:endParaRPr lang="cs-CZ" sz="2000" b="1" dirty="0" smtClean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580C6B5-5F43-46FA-A944-8115BD2C051F}" type="parTrans" cxnId="{4C29F9F6-683F-48E1-946E-370E6C98FFCB}">
      <dgm:prSet/>
      <dgm:spPr/>
      <dgm:t>
        <a:bodyPr/>
        <a:lstStyle/>
        <a:p>
          <a:pPr algn="ctr"/>
          <a:endParaRPr lang="cs-CZ" sz="2400">
            <a:solidFill>
              <a:schemeClr val="accent6"/>
            </a:solidFill>
          </a:endParaRPr>
        </a:p>
      </dgm:t>
    </dgm:pt>
    <dgm:pt modelId="{015FA133-BFF9-453C-997B-E2758F650D4B}" type="sibTrans" cxnId="{4C29F9F6-683F-48E1-946E-370E6C98FFCB}">
      <dgm:prSet/>
      <dgm:spPr/>
      <dgm:t>
        <a:bodyPr/>
        <a:lstStyle/>
        <a:p>
          <a:pPr algn="ctr"/>
          <a:endParaRPr lang="cs-CZ" sz="2400">
            <a:solidFill>
              <a:schemeClr val="accent6"/>
            </a:solidFill>
          </a:endParaRPr>
        </a:p>
      </dgm:t>
    </dgm:pt>
    <dgm:pt modelId="{15ABDDCE-2958-4570-932F-1980FD0D085B}">
      <dgm:prSet phldrT="[Text]" custT="1"/>
      <dgm:spPr/>
      <dgm:t>
        <a:bodyPr bIns="288000"/>
        <a:lstStyle/>
        <a:p>
          <a:pPr algn="ctr"/>
          <a:r>
            <a:rPr lang="cs-CZ" sz="20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NORMOVÁNÍ METODIKA</a:t>
          </a:r>
        </a:p>
      </dgm:t>
    </dgm:pt>
    <dgm:pt modelId="{82BB9B19-C222-4715-93EC-D97BBF983EC9}" type="parTrans" cxnId="{55E657C1-BFEB-4919-BD48-92086F63D2FA}">
      <dgm:prSet/>
      <dgm:spPr/>
      <dgm:t>
        <a:bodyPr/>
        <a:lstStyle/>
        <a:p>
          <a:pPr algn="ctr"/>
          <a:endParaRPr lang="cs-CZ" sz="2400">
            <a:solidFill>
              <a:schemeClr val="accent6"/>
            </a:solidFill>
          </a:endParaRPr>
        </a:p>
      </dgm:t>
    </dgm:pt>
    <dgm:pt modelId="{BBABA672-7538-4F8B-8F65-36156F30621B}" type="sibTrans" cxnId="{55E657C1-BFEB-4919-BD48-92086F63D2FA}">
      <dgm:prSet/>
      <dgm:spPr/>
      <dgm:t>
        <a:bodyPr/>
        <a:lstStyle/>
        <a:p>
          <a:pPr algn="ctr"/>
          <a:endParaRPr lang="cs-CZ" sz="2400">
            <a:solidFill>
              <a:schemeClr val="accent6"/>
            </a:solidFill>
          </a:endParaRPr>
        </a:p>
      </dgm:t>
    </dgm:pt>
    <dgm:pt modelId="{EABCB0AE-ADB2-45F6-8990-89ECC35A9950}">
      <dgm:prSet phldrT="[Text]" custT="1"/>
      <dgm:spPr/>
      <dgm:t>
        <a:bodyPr bIns="288000"/>
        <a:lstStyle/>
        <a:p>
          <a:pPr algn="ctr"/>
          <a:r>
            <a:rPr lang="cs-CZ" sz="20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POPTÁVKY KOOPERACE</a:t>
          </a:r>
        </a:p>
      </dgm:t>
    </dgm:pt>
    <dgm:pt modelId="{E43336D2-D245-4661-80B1-8AE345DF2EDC}" type="parTrans" cxnId="{1307AB03-AD99-41AF-B763-60E271B0D8C9}">
      <dgm:prSet/>
      <dgm:spPr/>
      <dgm:t>
        <a:bodyPr/>
        <a:lstStyle/>
        <a:p>
          <a:pPr algn="ctr"/>
          <a:endParaRPr lang="cs-CZ" sz="2400">
            <a:solidFill>
              <a:schemeClr val="accent6"/>
            </a:solidFill>
          </a:endParaRPr>
        </a:p>
      </dgm:t>
    </dgm:pt>
    <dgm:pt modelId="{F03D5E95-2B00-4117-9B25-80552F0FBB3C}" type="sibTrans" cxnId="{1307AB03-AD99-41AF-B763-60E271B0D8C9}">
      <dgm:prSet/>
      <dgm:spPr/>
      <dgm:t>
        <a:bodyPr/>
        <a:lstStyle/>
        <a:p>
          <a:pPr algn="ctr"/>
          <a:endParaRPr lang="cs-CZ" sz="2400">
            <a:solidFill>
              <a:schemeClr val="accent6"/>
            </a:solidFill>
          </a:endParaRPr>
        </a:p>
      </dgm:t>
    </dgm:pt>
    <dgm:pt modelId="{139A7F01-6912-40A9-9D7E-B47562504725}">
      <dgm:prSet phldrT="[Text]" custT="1"/>
      <dgm:spPr/>
      <dgm:t>
        <a:bodyPr/>
        <a:lstStyle/>
        <a:p>
          <a:pPr algn="ctr"/>
          <a:r>
            <a:rPr lang="cs-CZ" sz="2000" b="1" dirty="0" smtClean="0"/>
            <a:t>PSW-V</a:t>
          </a:r>
        </a:p>
      </dgm:t>
    </dgm:pt>
    <dgm:pt modelId="{1FA125C6-A025-4F54-BF92-BA2E60D875B6}" type="sibTrans" cxnId="{8D113524-74A6-4B33-98C8-73E329952415}">
      <dgm:prSet/>
      <dgm:spPr/>
      <dgm:t>
        <a:bodyPr/>
        <a:lstStyle/>
        <a:p>
          <a:pPr algn="ctr"/>
          <a:endParaRPr lang="cs-CZ" sz="2400">
            <a:solidFill>
              <a:schemeClr val="accent6"/>
            </a:solidFill>
          </a:endParaRPr>
        </a:p>
      </dgm:t>
    </dgm:pt>
    <dgm:pt modelId="{FDA22E1D-6A59-4B74-864F-5835A04FEE7A}" type="parTrans" cxnId="{8D113524-74A6-4B33-98C8-73E329952415}">
      <dgm:prSet/>
      <dgm:spPr/>
      <dgm:t>
        <a:bodyPr/>
        <a:lstStyle/>
        <a:p>
          <a:pPr algn="ctr"/>
          <a:endParaRPr lang="cs-CZ" sz="2400">
            <a:solidFill>
              <a:schemeClr val="accent6"/>
            </a:solidFill>
          </a:endParaRPr>
        </a:p>
      </dgm:t>
    </dgm:pt>
    <dgm:pt modelId="{6E897D6C-12C1-4C91-BDA1-F8B3BD1402D1}">
      <dgm:prSet phldrT="[Text]" custT="1"/>
      <dgm:spPr/>
      <dgm:t>
        <a:bodyPr tIns="324000"/>
        <a:lstStyle/>
        <a:p>
          <a:pPr algn="ctr"/>
          <a:r>
            <a:rPr lang="cs-CZ" sz="20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TECHNOLOGIE</a:t>
          </a:r>
          <a:endParaRPr lang="cs-CZ" sz="2000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200A5AB-0277-4B27-BFF8-D3A1956E82CF}" type="sibTrans" cxnId="{70107532-59FA-4D89-BC4A-837E08CCECA8}">
      <dgm:prSet/>
      <dgm:spPr/>
      <dgm:t>
        <a:bodyPr/>
        <a:lstStyle/>
        <a:p>
          <a:pPr algn="ctr"/>
          <a:endParaRPr lang="cs-CZ" sz="2400">
            <a:solidFill>
              <a:schemeClr val="accent6"/>
            </a:solidFill>
          </a:endParaRPr>
        </a:p>
      </dgm:t>
    </dgm:pt>
    <dgm:pt modelId="{DC24CBAF-DF14-4757-A698-CC2DFC6422F0}" type="parTrans" cxnId="{70107532-59FA-4D89-BC4A-837E08CCECA8}">
      <dgm:prSet/>
      <dgm:spPr/>
      <dgm:t>
        <a:bodyPr/>
        <a:lstStyle/>
        <a:p>
          <a:pPr algn="ctr"/>
          <a:endParaRPr lang="cs-CZ" sz="2400">
            <a:solidFill>
              <a:schemeClr val="accent6"/>
            </a:solidFill>
          </a:endParaRPr>
        </a:p>
      </dgm:t>
    </dgm:pt>
    <dgm:pt modelId="{718B6D85-EBCE-4971-A79A-AB14B3799F8F}" type="pres">
      <dgm:prSet presAssocID="{6EDEDB0A-D96F-4C9D-A19B-342B2F3B1A1C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cs-CZ"/>
        </a:p>
      </dgm:t>
    </dgm:pt>
    <dgm:pt modelId="{A675E228-7413-4C02-8B52-3760F7E0EEA1}" type="pres">
      <dgm:prSet presAssocID="{6EDEDB0A-D96F-4C9D-A19B-342B2F3B1A1C}" presName="matrix" presStyleCnt="0"/>
      <dgm:spPr/>
    </dgm:pt>
    <dgm:pt modelId="{DA7EE826-0259-458E-8722-74DBD3A0A1EC}" type="pres">
      <dgm:prSet presAssocID="{6EDEDB0A-D96F-4C9D-A19B-342B2F3B1A1C}" presName="tile1" presStyleLbl="node1" presStyleIdx="0" presStyleCnt="4" custLinFactNeighborX="-4444"/>
      <dgm:spPr/>
      <dgm:t>
        <a:bodyPr/>
        <a:lstStyle/>
        <a:p>
          <a:endParaRPr lang="cs-CZ"/>
        </a:p>
      </dgm:t>
    </dgm:pt>
    <dgm:pt modelId="{F42F0CD3-3B02-4402-BC3F-7F2F0C7D36FA}" type="pres">
      <dgm:prSet presAssocID="{6EDEDB0A-D96F-4C9D-A19B-342B2F3B1A1C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2D2FA274-864F-4D62-8708-37B528CF703E}" type="pres">
      <dgm:prSet presAssocID="{6EDEDB0A-D96F-4C9D-A19B-342B2F3B1A1C}" presName="tile2" presStyleLbl="node1" presStyleIdx="1" presStyleCnt="4"/>
      <dgm:spPr/>
      <dgm:t>
        <a:bodyPr/>
        <a:lstStyle/>
        <a:p>
          <a:endParaRPr lang="cs-CZ"/>
        </a:p>
      </dgm:t>
    </dgm:pt>
    <dgm:pt modelId="{2D91BAD5-48A5-4353-B828-A129AAA1B518}" type="pres">
      <dgm:prSet presAssocID="{6EDEDB0A-D96F-4C9D-A19B-342B2F3B1A1C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164012EC-97CD-42F3-85C6-97430AA090FD}" type="pres">
      <dgm:prSet presAssocID="{6EDEDB0A-D96F-4C9D-A19B-342B2F3B1A1C}" presName="tile3" presStyleLbl="node1" presStyleIdx="2" presStyleCnt="4" custLinFactNeighborX="-4167"/>
      <dgm:spPr/>
      <dgm:t>
        <a:bodyPr/>
        <a:lstStyle/>
        <a:p>
          <a:endParaRPr lang="cs-CZ"/>
        </a:p>
      </dgm:t>
    </dgm:pt>
    <dgm:pt modelId="{7453017C-F8E4-4AB0-BECF-DEDCDFD1B7DF}" type="pres">
      <dgm:prSet presAssocID="{6EDEDB0A-D96F-4C9D-A19B-342B2F3B1A1C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7B33625A-E0A2-4D64-9EF6-1555B1436BA2}" type="pres">
      <dgm:prSet presAssocID="{6EDEDB0A-D96F-4C9D-A19B-342B2F3B1A1C}" presName="tile4" presStyleLbl="node1" presStyleIdx="3" presStyleCnt="4" custLinFactNeighborY="8333"/>
      <dgm:spPr/>
      <dgm:t>
        <a:bodyPr/>
        <a:lstStyle/>
        <a:p>
          <a:endParaRPr lang="cs-CZ"/>
        </a:p>
      </dgm:t>
    </dgm:pt>
    <dgm:pt modelId="{E00337C8-6C1E-4AB3-B8F3-6877557B7955}" type="pres">
      <dgm:prSet presAssocID="{6EDEDB0A-D96F-4C9D-A19B-342B2F3B1A1C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cs-CZ"/>
        </a:p>
      </dgm:t>
    </dgm:pt>
    <dgm:pt modelId="{DB089AB0-47DE-4521-9C46-D05302A59B37}" type="pres">
      <dgm:prSet presAssocID="{6EDEDB0A-D96F-4C9D-A19B-342B2F3B1A1C}" presName="centerTile" presStyleLbl="fgShp" presStyleIdx="0" presStyleCnt="1" custScaleX="107692" custScaleY="80000">
        <dgm:presLayoutVars>
          <dgm:chMax val="0"/>
          <dgm:chPref val="0"/>
        </dgm:presLayoutVars>
      </dgm:prSet>
      <dgm:spPr/>
      <dgm:t>
        <a:bodyPr/>
        <a:lstStyle/>
        <a:p>
          <a:endParaRPr lang="cs-CZ"/>
        </a:p>
      </dgm:t>
    </dgm:pt>
  </dgm:ptLst>
  <dgm:cxnLst>
    <dgm:cxn modelId="{078A9A46-8012-45DD-A5F9-1A726E24357C}" type="presOf" srcId="{15ABDDCE-2958-4570-932F-1980FD0D085B}" destId="{7453017C-F8E4-4AB0-BECF-DEDCDFD1B7DF}" srcOrd="1" destOrd="0" presId="urn:microsoft.com/office/officeart/2005/8/layout/matrix1"/>
    <dgm:cxn modelId="{55E657C1-BFEB-4919-BD48-92086F63D2FA}" srcId="{139A7F01-6912-40A9-9D7E-B47562504725}" destId="{15ABDDCE-2958-4570-932F-1980FD0D085B}" srcOrd="2" destOrd="0" parTransId="{82BB9B19-C222-4715-93EC-D97BBF983EC9}" sibTransId="{BBABA672-7538-4F8B-8F65-36156F30621B}"/>
    <dgm:cxn modelId="{A81A7D9F-927A-415D-A8BC-3488F2174677}" type="presOf" srcId="{139A7F01-6912-40A9-9D7E-B47562504725}" destId="{DB089AB0-47DE-4521-9C46-D05302A59B37}" srcOrd="0" destOrd="0" presId="urn:microsoft.com/office/officeart/2005/8/layout/matrix1"/>
    <dgm:cxn modelId="{5AF26250-CA9B-430E-A301-B86AD108FE86}" type="presOf" srcId="{EABCB0AE-ADB2-45F6-8990-89ECC35A9950}" destId="{E00337C8-6C1E-4AB3-B8F3-6877557B7955}" srcOrd="1" destOrd="0" presId="urn:microsoft.com/office/officeart/2005/8/layout/matrix1"/>
    <dgm:cxn modelId="{E66F4275-5E7A-4692-B436-2289B931D8A2}" type="presOf" srcId="{15ABDDCE-2958-4570-932F-1980FD0D085B}" destId="{164012EC-97CD-42F3-85C6-97430AA090FD}" srcOrd="0" destOrd="0" presId="urn:microsoft.com/office/officeart/2005/8/layout/matrix1"/>
    <dgm:cxn modelId="{1307AB03-AD99-41AF-B763-60E271B0D8C9}" srcId="{139A7F01-6912-40A9-9D7E-B47562504725}" destId="{EABCB0AE-ADB2-45F6-8990-89ECC35A9950}" srcOrd="3" destOrd="0" parTransId="{E43336D2-D245-4661-80B1-8AE345DF2EDC}" sibTransId="{F03D5E95-2B00-4117-9B25-80552F0FBB3C}"/>
    <dgm:cxn modelId="{7CAD95B3-4AB4-4C2F-8EC0-DA9C75B21B33}" type="presOf" srcId="{E3E0A2B3-DE7D-44D4-9F38-925DD567D410}" destId="{2D91BAD5-48A5-4353-B828-A129AAA1B518}" srcOrd="1" destOrd="0" presId="urn:microsoft.com/office/officeart/2005/8/layout/matrix1"/>
    <dgm:cxn modelId="{70107532-59FA-4D89-BC4A-837E08CCECA8}" srcId="{139A7F01-6912-40A9-9D7E-B47562504725}" destId="{6E897D6C-12C1-4C91-BDA1-F8B3BD1402D1}" srcOrd="0" destOrd="0" parTransId="{DC24CBAF-DF14-4757-A698-CC2DFC6422F0}" sibTransId="{F200A5AB-0277-4B27-BFF8-D3A1956E82CF}"/>
    <dgm:cxn modelId="{E741087C-0754-4C97-A650-8017BC1F0B25}" type="presOf" srcId="{EABCB0AE-ADB2-45F6-8990-89ECC35A9950}" destId="{7B33625A-E0A2-4D64-9EF6-1555B1436BA2}" srcOrd="0" destOrd="0" presId="urn:microsoft.com/office/officeart/2005/8/layout/matrix1"/>
    <dgm:cxn modelId="{FF865B23-6422-4DE2-9581-50095D38C4BC}" type="presOf" srcId="{6EDEDB0A-D96F-4C9D-A19B-342B2F3B1A1C}" destId="{718B6D85-EBCE-4971-A79A-AB14B3799F8F}" srcOrd="0" destOrd="0" presId="urn:microsoft.com/office/officeart/2005/8/layout/matrix1"/>
    <dgm:cxn modelId="{2D63B432-E634-4550-837D-283EDCBC11AE}" type="presOf" srcId="{6E897D6C-12C1-4C91-BDA1-F8B3BD1402D1}" destId="{F42F0CD3-3B02-4402-BC3F-7F2F0C7D36FA}" srcOrd="1" destOrd="0" presId="urn:microsoft.com/office/officeart/2005/8/layout/matrix1"/>
    <dgm:cxn modelId="{8D113524-74A6-4B33-98C8-73E329952415}" srcId="{6EDEDB0A-D96F-4C9D-A19B-342B2F3B1A1C}" destId="{139A7F01-6912-40A9-9D7E-B47562504725}" srcOrd="0" destOrd="0" parTransId="{FDA22E1D-6A59-4B74-864F-5835A04FEE7A}" sibTransId="{1FA125C6-A025-4F54-BF92-BA2E60D875B6}"/>
    <dgm:cxn modelId="{4C29F9F6-683F-48E1-946E-370E6C98FFCB}" srcId="{139A7F01-6912-40A9-9D7E-B47562504725}" destId="{E3E0A2B3-DE7D-44D4-9F38-925DD567D410}" srcOrd="1" destOrd="0" parTransId="{6580C6B5-5F43-46FA-A944-8115BD2C051F}" sibTransId="{015FA133-BFF9-453C-997B-E2758F650D4B}"/>
    <dgm:cxn modelId="{EB8726F7-E384-48BA-9B7E-0DF8C6057A2B}" type="presOf" srcId="{6E897D6C-12C1-4C91-BDA1-F8B3BD1402D1}" destId="{DA7EE826-0259-458E-8722-74DBD3A0A1EC}" srcOrd="0" destOrd="0" presId="urn:microsoft.com/office/officeart/2005/8/layout/matrix1"/>
    <dgm:cxn modelId="{33345FFE-B289-47BC-9B5A-25440E65ECE6}" type="presOf" srcId="{E3E0A2B3-DE7D-44D4-9F38-925DD567D410}" destId="{2D2FA274-864F-4D62-8708-37B528CF703E}" srcOrd="0" destOrd="0" presId="urn:microsoft.com/office/officeart/2005/8/layout/matrix1"/>
    <dgm:cxn modelId="{51CC1F30-C050-47A6-8525-9A75CB2043C1}" type="presParOf" srcId="{718B6D85-EBCE-4971-A79A-AB14B3799F8F}" destId="{A675E228-7413-4C02-8B52-3760F7E0EEA1}" srcOrd="0" destOrd="0" presId="urn:microsoft.com/office/officeart/2005/8/layout/matrix1"/>
    <dgm:cxn modelId="{419B8C99-FB7D-4402-B8D3-864BDFC24042}" type="presParOf" srcId="{A675E228-7413-4C02-8B52-3760F7E0EEA1}" destId="{DA7EE826-0259-458E-8722-74DBD3A0A1EC}" srcOrd="0" destOrd="0" presId="urn:microsoft.com/office/officeart/2005/8/layout/matrix1"/>
    <dgm:cxn modelId="{E68A9F58-D6E2-44BA-B3B4-B4FBAB094696}" type="presParOf" srcId="{A675E228-7413-4C02-8B52-3760F7E0EEA1}" destId="{F42F0CD3-3B02-4402-BC3F-7F2F0C7D36FA}" srcOrd="1" destOrd="0" presId="urn:microsoft.com/office/officeart/2005/8/layout/matrix1"/>
    <dgm:cxn modelId="{7626EBB2-2541-41AC-8238-6EEF8C17409F}" type="presParOf" srcId="{A675E228-7413-4C02-8B52-3760F7E0EEA1}" destId="{2D2FA274-864F-4D62-8708-37B528CF703E}" srcOrd="2" destOrd="0" presId="urn:microsoft.com/office/officeart/2005/8/layout/matrix1"/>
    <dgm:cxn modelId="{9CCA0A2B-FD98-4251-B113-DFFDC31181C7}" type="presParOf" srcId="{A675E228-7413-4C02-8B52-3760F7E0EEA1}" destId="{2D91BAD5-48A5-4353-B828-A129AAA1B518}" srcOrd="3" destOrd="0" presId="urn:microsoft.com/office/officeart/2005/8/layout/matrix1"/>
    <dgm:cxn modelId="{E703A898-5C8F-4BD7-9732-1BC51DC9D8AF}" type="presParOf" srcId="{A675E228-7413-4C02-8B52-3760F7E0EEA1}" destId="{164012EC-97CD-42F3-85C6-97430AA090FD}" srcOrd="4" destOrd="0" presId="urn:microsoft.com/office/officeart/2005/8/layout/matrix1"/>
    <dgm:cxn modelId="{E956EEA5-B740-4A33-BDC5-BE5292BB70B9}" type="presParOf" srcId="{A675E228-7413-4C02-8B52-3760F7E0EEA1}" destId="{7453017C-F8E4-4AB0-BECF-DEDCDFD1B7DF}" srcOrd="5" destOrd="0" presId="urn:microsoft.com/office/officeart/2005/8/layout/matrix1"/>
    <dgm:cxn modelId="{A84FAE87-8C40-44C3-9D3B-C6364003AAC6}" type="presParOf" srcId="{A675E228-7413-4C02-8B52-3760F7E0EEA1}" destId="{7B33625A-E0A2-4D64-9EF6-1555B1436BA2}" srcOrd="6" destOrd="0" presId="urn:microsoft.com/office/officeart/2005/8/layout/matrix1"/>
    <dgm:cxn modelId="{477C2F28-8372-4E44-B43D-15695355DF6B}" type="presParOf" srcId="{A675E228-7413-4C02-8B52-3760F7E0EEA1}" destId="{E00337C8-6C1E-4AB3-B8F3-6877557B7955}" srcOrd="7" destOrd="0" presId="urn:microsoft.com/office/officeart/2005/8/layout/matrix1"/>
    <dgm:cxn modelId="{A752AB9A-238C-4025-89C7-3728F9CCF1BD}" type="presParOf" srcId="{718B6D85-EBCE-4971-A79A-AB14B3799F8F}" destId="{DB089AB0-47DE-4521-9C46-D05302A59B37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7EE826-0259-458E-8722-74DBD3A0A1EC}">
      <dsp:nvSpPr>
        <dsp:cNvPr id="0" name=""/>
        <dsp:cNvSpPr/>
      </dsp:nvSpPr>
      <dsp:spPr>
        <a:xfrm rot="16200000">
          <a:off x="588914" y="-588914"/>
          <a:ext cx="1045644" cy="2223474"/>
        </a:xfrm>
        <a:prstGeom prst="round1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32400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kern="12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TECHNOLOGIE</a:t>
          </a:r>
          <a:endParaRPr lang="cs-CZ" sz="2000" b="1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5400000">
        <a:off x="0" y="0"/>
        <a:ext cx="2223474" cy="784233"/>
      </dsp:txXfrm>
    </dsp:sp>
    <dsp:sp modelId="{2D2FA274-864F-4D62-8708-37B528CF703E}">
      <dsp:nvSpPr>
        <dsp:cNvPr id="0" name=""/>
        <dsp:cNvSpPr/>
      </dsp:nvSpPr>
      <dsp:spPr>
        <a:xfrm>
          <a:off x="2223474" y="0"/>
          <a:ext cx="2223474" cy="1045644"/>
        </a:xfrm>
        <a:prstGeom prst="round1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324000" rIns="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kern="12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PROGRAMOVÁNÍ</a:t>
          </a:r>
          <a:endParaRPr lang="cs-CZ" sz="2000" b="1" kern="1200" dirty="0" smtClean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2223474" y="0"/>
        <a:ext cx="2223474" cy="784233"/>
      </dsp:txXfrm>
    </dsp:sp>
    <dsp:sp modelId="{164012EC-97CD-42F3-85C6-97430AA090FD}">
      <dsp:nvSpPr>
        <dsp:cNvPr id="0" name=""/>
        <dsp:cNvSpPr/>
      </dsp:nvSpPr>
      <dsp:spPr>
        <a:xfrm rot="10800000">
          <a:off x="0" y="1045644"/>
          <a:ext cx="2223474" cy="1045644"/>
        </a:xfrm>
        <a:prstGeom prst="round1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2880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kern="12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NORMOVÁNÍ METODIKA</a:t>
          </a:r>
        </a:p>
      </dsp:txBody>
      <dsp:txXfrm rot="10800000">
        <a:off x="0" y="1307055"/>
        <a:ext cx="2223474" cy="784233"/>
      </dsp:txXfrm>
    </dsp:sp>
    <dsp:sp modelId="{7B33625A-E0A2-4D64-9EF6-1555B1436BA2}">
      <dsp:nvSpPr>
        <dsp:cNvPr id="0" name=""/>
        <dsp:cNvSpPr/>
      </dsp:nvSpPr>
      <dsp:spPr>
        <a:xfrm rot="5400000">
          <a:off x="2812388" y="456729"/>
          <a:ext cx="1045644" cy="2223474"/>
        </a:xfrm>
        <a:prstGeom prst="round1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2880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kern="12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POPTÁVKY KOOPERACE</a:t>
          </a:r>
        </a:p>
      </dsp:txBody>
      <dsp:txXfrm rot="-5400000">
        <a:off x="2223474" y="1307055"/>
        <a:ext cx="2223474" cy="784233"/>
      </dsp:txXfrm>
    </dsp:sp>
    <dsp:sp modelId="{DB089AB0-47DE-4521-9C46-D05302A59B37}">
      <dsp:nvSpPr>
        <dsp:cNvPr id="0" name=""/>
        <dsp:cNvSpPr/>
      </dsp:nvSpPr>
      <dsp:spPr>
        <a:xfrm>
          <a:off x="1505122" y="836515"/>
          <a:ext cx="1436702" cy="418257"/>
        </a:xfrm>
        <a:prstGeom prst="roundRect">
          <a:avLst/>
        </a:prstGeom>
        <a:solidFill>
          <a:schemeClr val="accent5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cs-CZ" sz="2000" b="1" kern="1200" dirty="0" smtClean="0"/>
            <a:t>PSW-V</a:t>
          </a:r>
        </a:p>
      </dsp:txBody>
      <dsp:txXfrm>
        <a:off x="1525540" y="856933"/>
        <a:ext cx="1395866" cy="3774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363750" cy="352294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846488" y="0"/>
            <a:ext cx="965475" cy="352294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839AC645-426F-485D-BF89-D5B06960D6A1}" type="datetimeFigureOut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10.06.2020</a:t>
            </a:fld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9590219"/>
            <a:ext cx="5363750" cy="35229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846488" y="9590219"/>
            <a:ext cx="965475" cy="35229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D4CF9FA0-453B-44E2-87EE-486FCDD97806}" type="slidenum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cs-CZ" sz="900" dirty="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3872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363750" cy="352294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846488" y="0"/>
            <a:ext cx="965475" cy="352294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3DF265A4-7ECE-4568-9246-39EF07969DAF}" type="datetimeFigureOut">
              <a:rPr lang="cs-CZ" smtClean="0"/>
              <a:pPr/>
              <a:t>10.06.2020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71525" y="746125"/>
            <a:ext cx="5268913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noProof="0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1197" y="4722694"/>
            <a:ext cx="544957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590219"/>
            <a:ext cx="5363750" cy="35229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846488" y="9590219"/>
            <a:ext cx="965475" cy="35229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7DCD363E-0387-4F03-A368-7EC1FE0C90C6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12837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1pPr>
    <a:lvl2pPr marL="179946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2pPr>
    <a:lvl3pPr marL="359892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3pPr>
    <a:lvl4pPr marL="539838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4pPr>
    <a:lvl5pPr marL="719784" indent="179946" algn="l" defTabSz="1042742" rtl="0" eaLnBrk="1" latinLnBrk="0" hangingPunct="1">
      <a:buClr>
        <a:schemeClr val="tx1"/>
      </a:buClr>
      <a:buFont typeface="Wingdings" panose="05000000000000000000" pitchFamily="2" charset="2"/>
      <a:buChar char="§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5pPr>
    <a:lvl6pPr marL="2606858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ClrTx/>
            </a:pPr>
            <a:r>
              <a:rPr lang="cs-CZ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vorba technologických postupů</a:t>
            </a:r>
          </a:p>
          <a:p>
            <a:pPr>
              <a:buClrTx/>
            </a:pPr>
            <a:r>
              <a:rPr lang="cs-CZ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vorba programů pro CNC stroje</a:t>
            </a:r>
          </a:p>
          <a:p>
            <a:pPr>
              <a:buClrTx/>
            </a:pPr>
            <a:r>
              <a:rPr lang="cs-CZ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vorba norem spotřeby času</a:t>
            </a:r>
          </a:p>
          <a:p>
            <a:pPr>
              <a:buClrTx/>
            </a:pPr>
            <a:r>
              <a:rPr lang="cs-CZ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vorba cenových nabídek</a:t>
            </a:r>
          </a:p>
          <a:p>
            <a:pPr>
              <a:buClrTx/>
            </a:pPr>
            <a:r>
              <a:rPr lang="cs-CZ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vorba technických zadání pro externí výrobu</a:t>
            </a:r>
          </a:p>
          <a:p>
            <a:pPr>
              <a:buClrTx/>
            </a:pPr>
            <a:r>
              <a:rPr lang="cs-CZ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koušky nových nástrojů a inovace</a:t>
            </a:r>
          </a:p>
          <a:p>
            <a:pPr>
              <a:buClrTx/>
            </a:pPr>
            <a:r>
              <a:rPr lang="cs-CZ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timalizace výroby a snižování nákladů</a:t>
            </a:r>
          </a:p>
          <a:p>
            <a:pPr>
              <a:buClrTx/>
            </a:pPr>
            <a:r>
              <a:rPr lang="cs-CZ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vorba podkladů pro investice a obnovu strojů</a:t>
            </a:r>
          </a:p>
          <a:p>
            <a:pPr>
              <a:buClrTx/>
            </a:pPr>
            <a:r>
              <a:rPr lang="cs-CZ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pacitní rozvahy a strategie struktury výroby</a:t>
            </a:r>
          </a:p>
          <a:p>
            <a:pPr>
              <a:buClrTx/>
            </a:pPr>
            <a:r>
              <a:rPr lang="cs-CZ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vorba harmonogramů výroby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CD363E-0387-4F03-A368-7EC1FE0C90C6}" type="slidenum">
              <a:rPr lang="en-GB" noProof="0" smtClean="0"/>
              <a:pPr/>
              <a:t>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8482506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SK316/5</a:t>
            </a:r>
            <a:r>
              <a:rPr lang="cs-CZ" baseline="0" dirty="0" smtClean="0"/>
              <a:t> ENYAQ</a:t>
            </a:r>
          </a:p>
          <a:p>
            <a:r>
              <a:rPr lang="cs-CZ" baseline="0" dirty="0" smtClean="0"/>
              <a:t>SK316/6 ENYAQ SUV</a:t>
            </a:r>
          </a:p>
          <a:p>
            <a:r>
              <a:rPr lang="cs-CZ" baseline="0" dirty="0" smtClean="0"/>
              <a:t>SK382 OCTAVIA COMBI</a:t>
            </a:r>
          </a:p>
          <a:p>
            <a:r>
              <a:rPr lang="cs-CZ" baseline="0" dirty="0" smtClean="0"/>
              <a:t>SK381 OCTAVIA LIMUZINA</a:t>
            </a:r>
          </a:p>
          <a:p>
            <a:r>
              <a:rPr lang="cs-CZ" baseline="0" dirty="0" smtClean="0"/>
              <a:t>SK370/4 KAMIQ</a:t>
            </a:r>
          </a:p>
          <a:p>
            <a:r>
              <a:rPr lang="cs-CZ" baseline="0" dirty="0" smtClean="0"/>
              <a:t>SK370/3 SCALA</a:t>
            </a:r>
          </a:p>
          <a:p>
            <a:r>
              <a:rPr lang="cs-CZ" baseline="0" dirty="0" smtClean="0"/>
              <a:t>SK270 FABIA</a:t>
            </a: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CD363E-0387-4F03-A368-7EC1FE0C90C6}" type="slidenum">
              <a:rPr lang="cs-CZ" smtClean="0"/>
              <a:pPr/>
              <a:t>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92631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179946" algn="l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cs-CZ" sz="900" kern="1200" dirty="0" smtClean="0">
                <a:solidFill>
                  <a:schemeClr val="tx1"/>
                </a:solidFill>
                <a:effectLst/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t>Ocelolitina je litá ocel a bývá používána jako ideální varianta mezi litinou nebo ocelí. Její vlastnosti jsou z pravidla v rozmezí mezi litinami a ocelemi a používají se v případech potřeby odlitých dílců s vyšší pevnosti než má litina.</a:t>
            </a:r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CD363E-0387-4F03-A368-7EC1FE0C90C6}" type="slidenum">
              <a:rPr lang="cs-CZ" smtClean="0"/>
              <a:pPr/>
              <a:t>1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185009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CD363E-0387-4F03-A368-7EC1FE0C90C6}" type="slidenum">
              <a:rPr lang="cs-CZ" smtClean="0"/>
              <a:pPr/>
              <a:t>1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11328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CD363E-0387-4F03-A368-7EC1FE0C90C6}" type="slidenum">
              <a:rPr lang="cs-CZ" smtClean="0"/>
              <a:pPr/>
              <a:t>1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425071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900" b="0" i="0" u="none" strike="noStrike" kern="1200" baseline="0" dirty="0" smtClean="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t>Důvodem tohoto faktu je, že diamant je schopen rozpouštět se a reagovat s těmito kovy. Při obrábění pak vzniká zvýšené opotřebení funkčních ploch nástroje v důsledku difúze uhlíku do obrobku a současně dochází k urychlení grafitizace diamantu.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CD363E-0387-4F03-A368-7EC1FE0C90C6}" type="slidenum">
              <a:rPr lang="cs-CZ" smtClean="0"/>
              <a:pPr/>
              <a:t>1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572224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4.gif"/><Relationship Id="rId4" Type="http://schemas.openxmlformats.org/officeDocument/2006/relationships/image" Target="../media/image3.jp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4.gif"/><Relationship Id="rId4" Type="http://schemas.openxmlformats.org/officeDocument/2006/relationships/image" Target="../media/image5.jp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8.gif"/><Relationship Id="rId4" Type="http://schemas.openxmlformats.org/officeDocument/2006/relationships/image" Target="../media/image7.gi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image" Target="../media/image8.gif"/><Relationship Id="rId4" Type="http://schemas.openxmlformats.org/officeDocument/2006/relationships/image" Target="../media/image7.gi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Skupina 17">
            <a:extLst>
              <a:ext uri="{FF2B5EF4-FFF2-40B4-BE49-F238E27FC236}">
                <a16:creationId xmlns:a16="http://schemas.microsoft.com/office/drawing/2014/main" id="{115B4FB6-70C3-477C-AB65-B7E57EAB8C94}"/>
              </a:ext>
            </a:extLst>
          </p:cNvPr>
          <p:cNvGrpSpPr/>
          <p:nvPr userDrawn="1"/>
        </p:nvGrpSpPr>
        <p:grpSpPr>
          <a:xfrm>
            <a:off x="-1" y="-7146"/>
            <a:ext cx="10691994" cy="5875676"/>
            <a:chOff x="-1" y="-7146"/>
            <a:chExt cx="10691994" cy="5875676"/>
          </a:xfrm>
        </p:grpSpPr>
        <p:sp>
          <p:nvSpPr>
            <p:cNvPr id="23" name="Volný tvar 23">
              <a:extLst>
                <a:ext uri="{FF2B5EF4-FFF2-40B4-BE49-F238E27FC236}">
                  <a16:creationId xmlns:a16="http://schemas.microsoft.com/office/drawing/2014/main" id="{1A93E046-206F-4397-89A6-84E8E6675AC1}"/>
                </a:ext>
              </a:extLst>
            </p:cNvPr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7602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Volný tvar 19">
              <a:extLst>
                <a:ext uri="{FF2B5EF4-FFF2-40B4-BE49-F238E27FC236}">
                  <a16:creationId xmlns:a16="http://schemas.microsoft.com/office/drawing/2014/main" id="{FBCC8959-416F-44A4-BBCD-DCCD574B2B6A}"/>
                </a:ext>
              </a:extLst>
            </p:cNvPr>
            <p:cNvSpPr/>
            <p:nvPr userDrawn="1"/>
          </p:nvSpPr>
          <p:spPr>
            <a:xfrm>
              <a:off x="8674330" y="-7146"/>
              <a:ext cx="2017489" cy="3172313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  <a:gd name="connsiteX0" fmla="*/ 2009594 w 2009594"/>
                <a:gd name="connsiteY0" fmla="*/ 2383 h 3168216"/>
                <a:gd name="connsiteX1" fmla="*/ 86330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2383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0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11963 w 2011963"/>
                <a:gd name="connsiteY0" fmla="*/ 0 h 3168216"/>
                <a:gd name="connsiteX1" fmla="*/ 863299 w 2011963"/>
                <a:gd name="connsiteY1" fmla="*/ 0 h 3168216"/>
                <a:gd name="connsiteX2" fmla="*/ 0 w 2011963"/>
                <a:gd name="connsiteY2" fmla="*/ 1896185 h 3168216"/>
                <a:gd name="connsiteX3" fmla="*/ 644299 w 2011963"/>
                <a:gd name="connsiteY3" fmla="*/ 3168216 h 3168216"/>
                <a:gd name="connsiteX4" fmla="*/ 2010945 w 2011963"/>
                <a:gd name="connsiteY4" fmla="*/ 3168216 h 3168216"/>
                <a:gd name="connsiteX0" fmla="*/ 2007224 w 2007224"/>
                <a:gd name="connsiteY0" fmla="*/ 0 h 3168216"/>
                <a:gd name="connsiteX1" fmla="*/ 858560 w 2007224"/>
                <a:gd name="connsiteY1" fmla="*/ 0 h 3168216"/>
                <a:gd name="connsiteX2" fmla="*/ 0 w 2007224"/>
                <a:gd name="connsiteY2" fmla="*/ 1898566 h 3168216"/>
                <a:gd name="connsiteX3" fmla="*/ 639560 w 2007224"/>
                <a:gd name="connsiteY3" fmla="*/ 3168216 h 3168216"/>
                <a:gd name="connsiteX4" fmla="*/ 2006206 w 2007224"/>
                <a:gd name="connsiteY4" fmla="*/ 3168216 h 3168216"/>
                <a:gd name="connsiteX0" fmla="*/ 2009593 w 2009593"/>
                <a:gd name="connsiteY0" fmla="*/ 0 h 3168216"/>
                <a:gd name="connsiteX1" fmla="*/ 860929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9593 w 2009593"/>
                <a:gd name="connsiteY0" fmla="*/ 0 h 3168216"/>
                <a:gd name="connsiteX1" fmla="*/ 856191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7223 w 2007223"/>
                <a:gd name="connsiteY0" fmla="*/ 0 h 3168216"/>
                <a:gd name="connsiteX1" fmla="*/ 853821 w 2007223"/>
                <a:gd name="connsiteY1" fmla="*/ 0 h 3168216"/>
                <a:gd name="connsiteX2" fmla="*/ 0 w 2007223"/>
                <a:gd name="connsiteY2" fmla="*/ 1893803 h 3168216"/>
                <a:gd name="connsiteX3" fmla="*/ 639559 w 2007223"/>
                <a:gd name="connsiteY3" fmla="*/ 3168216 h 3168216"/>
                <a:gd name="connsiteX4" fmla="*/ 2006205 w 2007223"/>
                <a:gd name="connsiteY4" fmla="*/ 3168216 h 3168216"/>
                <a:gd name="connsiteX0" fmla="*/ 2007223 w 2007223"/>
                <a:gd name="connsiteY0" fmla="*/ 2383 h 3170599"/>
                <a:gd name="connsiteX1" fmla="*/ 853821 w 2007223"/>
                <a:gd name="connsiteY1" fmla="*/ 0 h 3170599"/>
                <a:gd name="connsiteX2" fmla="*/ 0 w 2007223"/>
                <a:gd name="connsiteY2" fmla="*/ 1896186 h 3170599"/>
                <a:gd name="connsiteX3" fmla="*/ 639559 w 2007223"/>
                <a:gd name="connsiteY3" fmla="*/ 3170599 h 3170599"/>
                <a:gd name="connsiteX4" fmla="*/ 2006205 w 2007223"/>
                <a:gd name="connsiteY4" fmla="*/ 3170599 h 3170599"/>
                <a:gd name="connsiteX0" fmla="*/ 2007223 w 2007223"/>
                <a:gd name="connsiteY0" fmla="*/ 4765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  <a:gd name="connsiteX0" fmla="*/ 2007223 w 2007223"/>
                <a:gd name="connsiteY0" fmla="*/ 2383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223" h="3172981">
                  <a:moveTo>
                    <a:pt x="2007223" y="2383"/>
                  </a:moveTo>
                  <a:lnTo>
                    <a:pt x="856190" y="0"/>
                  </a:lnTo>
                  <a:lnTo>
                    <a:pt x="0" y="1898568"/>
                  </a:lnTo>
                  <a:lnTo>
                    <a:pt x="639559" y="3172981"/>
                  </a:lnTo>
                  <a:lnTo>
                    <a:pt x="2006205" y="3172981"/>
                  </a:lnTo>
                </a:path>
              </a:pathLst>
            </a:custGeom>
            <a:solidFill>
              <a:schemeClr val="bg1"/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Volný tvar 22">
              <a:extLst>
                <a:ext uri="{FF2B5EF4-FFF2-40B4-BE49-F238E27FC236}">
                  <a16:creationId xmlns:a16="http://schemas.microsoft.com/office/drawing/2014/main" id="{C080EC79-1ECD-4E16-AA6B-261395FCC41F}"/>
                </a:ext>
              </a:extLst>
            </p:cNvPr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Volný tvar 24">
              <a:extLst>
                <a:ext uri="{FF2B5EF4-FFF2-40B4-BE49-F238E27FC236}">
                  <a16:creationId xmlns:a16="http://schemas.microsoft.com/office/drawing/2014/main" id="{948FA327-166E-42DD-A0F0-E2A5324CE266}"/>
                </a:ext>
              </a:extLst>
            </p:cNvPr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8DBEEA6C-2E29-4267-B0D4-75AD4EEAF37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1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9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Font typeface="Wingdings" panose="05000000000000000000" pitchFamily="2" charset="2"/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1BBEF927-8A97-4E98-B1BF-93F8DBFE6BC6}"/>
              </a:ext>
            </a:extLst>
          </p:cNvPr>
          <p:cNvSpPr txBox="1"/>
          <p:nvPr userDrawn="1"/>
        </p:nvSpPr>
        <p:spPr>
          <a:xfrm>
            <a:off x="9720000" y="7358802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b="1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14654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752776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Skupina 15">
            <a:extLst>
              <a:ext uri="{FF2B5EF4-FFF2-40B4-BE49-F238E27FC236}">
                <a16:creationId xmlns:a16="http://schemas.microsoft.com/office/drawing/2014/main" id="{D5BC4A66-0ED6-495C-8DBE-D1B1A41ADAD1}"/>
              </a:ext>
            </a:extLst>
          </p:cNvPr>
          <p:cNvGrpSpPr/>
          <p:nvPr userDrawn="1"/>
        </p:nvGrpSpPr>
        <p:grpSpPr>
          <a:xfrm>
            <a:off x="-1" y="-7146"/>
            <a:ext cx="10691994" cy="5875676"/>
            <a:chOff x="-1" y="-7146"/>
            <a:chExt cx="10691994" cy="5875676"/>
          </a:xfrm>
        </p:grpSpPr>
        <p:sp>
          <p:nvSpPr>
            <p:cNvPr id="18" name="Volný tvar 23">
              <a:extLst>
                <a:ext uri="{FF2B5EF4-FFF2-40B4-BE49-F238E27FC236}">
                  <a16:creationId xmlns:a16="http://schemas.microsoft.com/office/drawing/2014/main" id="{D3E08368-8885-4CB3-AC6A-633C3F814AEA}"/>
                </a:ext>
              </a:extLst>
            </p:cNvPr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7602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Volný tvar 19">
              <a:extLst>
                <a:ext uri="{FF2B5EF4-FFF2-40B4-BE49-F238E27FC236}">
                  <a16:creationId xmlns:a16="http://schemas.microsoft.com/office/drawing/2014/main" id="{77D7C385-577D-409E-9D92-288E60C68763}"/>
                </a:ext>
              </a:extLst>
            </p:cNvPr>
            <p:cNvSpPr/>
            <p:nvPr userDrawn="1"/>
          </p:nvSpPr>
          <p:spPr>
            <a:xfrm>
              <a:off x="8674330" y="-7146"/>
              <a:ext cx="2017489" cy="3172313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  <a:gd name="connsiteX0" fmla="*/ 2009594 w 2009594"/>
                <a:gd name="connsiteY0" fmla="*/ 2383 h 3168216"/>
                <a:gd name="connsiteX1" fmla="*/ 86330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2383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0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11963 w 2011963"/>
                <a:gd name="connsiteY0" fmla="*/ 0 h 3168216"/>
                <a:gd name="connsiteX1" fmla="*/ 863299 w 2011963"/>
                <a:gd name="connsiteY1" fmla="*/ 0 h 3168216"/>
                <a:gd name="connsiteX2" fmla="*/ 0 w 2011963"/>
                <a:gd name="connsiteY2" fmla="*/ 1896185 h 3168216"/>
                <a:gd name="connsiteX3" fmla="*/ 644299 w 2011963"/>
                <a:gd name="connsiteY3" fmla="*/ 3168216 h 3168216"/>
                <a:gd name="connsiteX4" fmla="*/ 2010945 w 2011963"/>
                <a:gd name="connsiteY4" fmla="*/ 3168216 h 3168216"/>
                <a:gd name="connsiteX0" fmla="*/ 2007224 w 2007224"/>
                <a:gd name="connsiteY0" fmla="*/ 0 h 3168216"/>
                <a:gd name="connsiteX1" fmla="*/ 858560 w 2007224"/>
                <a:gd name="connsiteY1" fmla="*/ 0 h 3168216"/>
                <a:gd name="connsiteX2" fmla="*/ 0 w 2007224"/>
                <a:gd name="connsiteY2" fmla="*/ 1898566 h 3168216"/>
                <a:gd name="connsiteX3" fmla="*/ 639560 w 2007224"/>
                <a:gd name="connsiteY3" fmla="*/ 3168216 h 3168216"/>
                <a:gd name="connsiteX4" fmla="*/ 2006206 w 2007224"/>
                <a:gd name="connsiteY4" fmla="*/ 3168216 h 3168216"/>
                <a:gd name="connsiteX0" fmla="*/ 2009593 w 2009593"/>
                <a:gd name="connsiteY0" fmla="*/ 0 h 3168216"/>
                <a:gd name="connsiteX1" fmla="*/ 860929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9593 w 2009593"/>
                <a:gd name="connsiteY0" fmla="*/ 0 h 3168216"/>
                <a:gd name="connsiteX1" fmla="*/ 856191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7223 w 2007223"/>
                <a:gd name="connsiteY0" fmla="*/ 0 h 3168216"/>
                <a:gd name="connsiteX1" fmla="*/ 853821 w 2007223"/>
                <a:gd name="connsiteY1" fmla="*/ 0 h 3168216"/>
                <a:gd name="connsiteX2" fmla="*/ 0 w 2007223"/>
                <a:gd name="connsiteY2" fmla="*/ 1893803 h 3168216"/>
                <a:gd name="connsiteX3" fmla="*/ 639559 w 2007223"/>
                <a:gd name="connsiteY3" fmla="*/ 3168216 h 3168216"/>
                <a:gd name="connsiteX4" fmla="*/ 2006205 w 2007223"/>
                <a:gd name="connsiteY4" fmla="*/ 3168216 h 3168216"/>
                <a:gd name="connsiteX0" fmla="*/ 2007223 w 2007223"/>
                <a:gd name="connsiteY0" fmla="*/ 2383 h 3170599"/>
                <a:gd name="connsiteX1" fmla="*/ 853821 w 2007223"/>
                <a:gd name="connsiteY1" fmla="*/ 0 h 3170599"/>
                <a:gd name="connsiteX2" fmla="*/ 0 w 2007223"/>
                <a:gd name="connsiteY2" fmla="*/ 1896186 h 3170599"/>
                <a:gd name="connsiteX3" fmla="*/ 639559 w 2007223"/>
                <a:gd name="connsiteY3" fmla="*/ 3170599 h 3170599"/>
                <a:gd name="connsiteX4" fmla="*/ 2006205 w 2007223"/>
                <a:gd name="connsiteY4" fmla="*/ 3170599 h 3170599"/>
                <a:gd name="connsiteX0" fmla="*/ 2007223 w 2007223"/>
                <a:gd name="connsiteY0" fmla="*/ 4765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  <a:gd name="connsiteX0" fmla="*/ 2007223 w 2007223"/>
                <a:gd name="connsiteY0" fmla="*/ 2383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223" h="3172981">
                  <a:moveTo>
                    <a:pt x="2007223" y="2383"/>
                  </a:moveTo>
                  <a:lnTo>
                    <a:pt x="856190" y="0"/>
                  </a:lnTo>
                  <a:lnTo>
                    <a:pt x="0" y="1898568"/>
                  </a:lnTo>
                  <a:lnTo>
                    <a:pt x="639559" y="3172981"/>
                  </a:lnTo>
                  <a:lnTo>
                    <a:pt x="2006205" y="3172981"/>
                  </a:lnTo>
                </a:path>
              </a:pathLst>
            </a:custGeom>
            <a:solidFill>
              <a:schemeClr val="bg1"/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Volný tvar 22">
              <a:extLst>
                <a:ext uri="{FF2B5EF4-FFF2-40B4-BE49-F238E27FC236}">
                  <a16:creationId xmlns:a16="http://schemas.microsoft.com/office/drawing/2014/main" id="{321A2F01-3E19-4A84-8448-C67CAFC2081F}"/>
                </a:ext>
              </a:extLst>
            </p:cNvPr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Volný tvar 24">
              <a:extLst>
                <a:ext uri="{FF2B5EF4-FFF2-40B4-BE49-F238E27FC236}">
                  <a16:creationId xmlns:a16="http://schemas.microsoft.com/office/drawing/2014/main" id="{C1F68943-359F-447F-B7C0-63CEAA03D340}"/>
                </a:ext>
              </a:extLst>
            </p:cNvPr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6E676C97-5A4F-4966-8499-AB642580E08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914220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9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22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23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noProof="0" smtClean="0"/>
              <a:t>Prezentace PSW-V2, PSW-V/2, Kejmar Jiří, 15.11.2019</a:t>
            </a:r>
            <a:endParaRPr lang="cs-CZ" noProof="0" dirty="0"/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4423A71-5ECA-4AE1-9DAE-40ADC711F022}"/>
              </a:ext>
            </a:extLst>
          </p:cNvPr>
          <p:cNvSpPr txBox="1"/>
          <p:nvPr userDrawn="1"/>
        </p:nvSpPr>
        <p:spPr>
          <a:xfrm>
            <a:off x="9720000" y="7358802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b="1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Skupina 15">
            <a:extLst>
              <a:ext uri="{FF2B5EF4-FFF2-40B4-BE49-F238E27FC236}">
                <a16:creationId xmlns:a16="http://schemas.microsoft.com/office/drawing/2014/main" id="{294B73B7-B99D-4025-AD31-77A23D5A3DD1}"/>
              </a:ext>
            </a:extLst>
          </p:cNvPr>
          <p:cNvGrpSpPr/>
          <p:nvPr userDrawn="1"/>
        </p:nvGrpSpPr>
        <p:grpSpPr>
          <a:xfrm>
            <a:off x="-7373" y="-7146"/>
            <a:ext cx="10699366" cy="5875676"/>
            <a:chOff x="-7373" y="-7146"/>
            <a:chExt cx="10699366" cy="5875676"/>
          </a:xfrm>
        </p:grpSpPr>
        <p:sp>
          <p:nvSpPr>
            <p:cNvPr id="18" name="Volný tvar 23">
              <a:extLst>
                <a:ext uri="{FF2B5EF4-FFF2-40B4-BE49-F238E27FC236}">
                  <a16:creationId xmlns:a16="http://schemas.microsoft.com/office/drawing/2014/main" id="{41F3897B-C4B9-4EED-9950-22CB44D754A1}"/>
                </a:ext>
              </a:extLst>
            </p:cNvPr>
            <p:cNvSpPr/>
            <p:nvPr userDrawn="1"/>
          </p:nvSpPr>
          <p:spPr>
            <a:xfrm>
              <a:off x="2371903" y="-5557"/>
              <a:ext cx="7167730" cy="1895655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9266"/>
                <a:gd name="connsiteY0" fmla="*/ 1887397 h 1887397"/>
                <a:gd name="connsiteX1" fmla="*/ 7159266 w 7159266"/>
                <a:gd name="connsiteY1" fmla="*/ 0 h 1887397"/>
                <a:gd name="connsiteX2" fmla="*/ 0 w 7159266"/>
                <a:gd name="connsiteY2" fmla="*/ 3161 h 1887397"/>
                <a:gd name="connsiteX0" fmla="*/ 6307128 w 7168792"/>
                <a:gd name="connsiteY0" fmla="*/ 1887397 h 1887397"/>
                <a:gd name="connsiteX1" fmla="*/ 7168792 w 7168792"/>
                <a:gd name="connsiteY1" fmla="*/ 0 h 1887397"/>
                <a:gd name="connsiteX2" fmla="*/ 0 w 7168792"/>
                <a:gd name="connsiteY2" fmla="*/ 0 h 188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68792" h="1887397">
                  <a:moveTo>
                    <a:pt x="6307128" y="1887397"/>
                  </a:moveTo>
                  <a:lnTo>
                    <a:pt x="7168792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cs-CZ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Volný tvar 19">
              <a:extLst>
                <a:ext uri="{FF2B5EF4-FFF2-40B4-BE49-F238E27FC236}">
                  <a16:creationId xmlns:a16="http://schemas.microsoft.com/office/drawing/2014/main" id="{8395DE3A-8194-447E-B671-E9CC1D4C3BDC}"/>
                </a:ext>
              </a:extLst>
            </p:cNvPr>
            <p:cNvSpPr/>
            <p:nvPr userDrawn="1"/>
          </p:nvSpPr>
          <p:spPr>
            <a:xfrm>
              <a:off x="8674330" y="-7146"/>
              <a:ext cx="2017489" cy="3172313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  <a:gd name="connsiteX0" fmla="*/ 2009594 w 2009594"/>
                <a:gd name="connsiteY0" fmla="*/ 2383 h 3168216"/>
                <a:gd name="connsiteX1" fmla="*/ 86330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2383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0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11963 w 2011963"/>
                <a:gd name="connsiteY0" fmla="*/ 0 h 3168216"/>
                <a:gd name="connsiteX1" fmla="*/ 863299 w 2011963"/>
                <a:gd name="connsiteY1" fmla="*/ 0 h 3168216"/>
                <a:gd name="connsiteX2" fmla="*/ 0 w 2011963"/>
                <a:gd name="connsiteY2" fmla="*/ 1896185 h 3168216"/>
                <a:gd name="connsiteX3" fmla="*/ 644299 w 2011963"/>
                <a:gd name="connsiteY3" fmla="*/ 3168216 h 3168216"/>
                <a:gd name="connsiteX4" fmla="*/ 2010945 w 2011963"/>
                <a:gd name="connsiteY4" fmla="*/ 3168216 h 3168216"/>
                <a:gd name="connsiteX0" fmla="*/ 2007224 w 2007224"/>
                <a:gd name="connsiteY0" fmla="*/ 0 h 3168216"/>
                <a:gd name="connsiteX1" fmla="*/ 858560 w 2007224"/>
                <a:gd name="connsiteY1" fmla="*/ 0 h 3168216"/>
                <a:gd name="connsiteX2" fmla="*/ 0 w 2007224"/>
                <a:gd name="connsiteY2" fmla="*/ 1898566 h 3168216"/>
                <a:gd name="connsiteX3" fmla="*/ 639560 w 2007224"/>
                <a:gd name="connsiteY3" fmla="*/ 3168216 h 3168216"/>
                <a:gd name="connsiteX4" fmla="*/ 2006206 w 2007224"/>
                <a:gd name="connsiteY4" fmla="*/ 3168216 h 3168216"/>
                <a:gd name="connsiteX0" fmla="*/ 2009593 w 2009593"/>
                <a:gd name="connsiteY0" fmla="*/ 0 h 3168216"/>
                <a:gd name="connsiteX1" fmla="*/ 860929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9593 w 2009593"/>
                <a:gd name="connsiteY0" fmla="*/ 0 h 3168216"/>
                <a:gd name="connsiteX1" fmla="*/ 856191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7223 w 2007223"/>
                <a:gd name="connsiteY0" fmla="*/ 0 h 3168216"/>
                <a:gd name="connsiteX1" fmla="*/ 853821 w 2007223"/>
                <a:gd name="connsiteY1" fmla="*/ 0 h 3168216"/>
                <a:gd name="connsiteX2" fmla="*/ 0 w 2007223"/>
                <a:gd name="connsiteY2" fmla="*/ 1893803 h 3168216"/>
                <a:gd name="connsiteX3" fmla="*/ 639559 w 2007223"/>
                <a:gd name="connsiteY3" fmla="*/ 3168216 h 3168216"/>
                <a:gd name="connsiteX4" fmla="*/ 2006205 w 2007223"/>
                <a:gd name="connsiteY4" fmla="*/ 3168216 h 3168216"/>
                <a:gd name="connsiteX0" fmla="*/ 2007223 w 2007223"/>
                <a:gd name="connsiteY0" fmla="*/ 2383 h 3170599"/>
                <a:gd name="connsiteX1" fmla="*/ 853821 w 2007223"/>
                <a:gd name="connsiteY1" fmla="*/ 0 h 3170599"/>
                <a:gd name="connsiteX2" fmla="*/ 0 w 2007223"/>
                <a:gd name="connsiteY2" fmla="*/ 1896186 h 3170599"/>
                <a:gd name="connsiteX3" fmla="*/ 639559 w 2007223"/>
                <a:gd name="connsiteY3" fmla="*/ 3170599 h 3170599"/>
                <a:gd name="connsiteX4" fmla="*/ 2006205 w 2007223"/>
                <a:gd name="connsiteY4" fmla="*/ 3170599 h 3170599"/>
                <a:gd name="connsiteX0" fmla="*/ 2007223 w 2007223"/>
                <a:gd name="connsiteY0" fmla="*/ 4765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  <a:gd name="connsiteX0" fmla="*/ 2007223 w 2007223"/>
                <a:gd name="connsiteY0" fmla="*/ 2383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223" h="3172981">
                  <a:moveTo>
                    <a:pt x="2007223" y="2383"/>
                  </a:moveTo>
                  <a:lnTo>
                    <a:pt x="856190" y="0"/>
                  </a:lnTo>
                  <a:lnTo>
                    <a:pt x="0" y="1898568"/>
                  </a:lnTo>
                  <a:lnTo>
                    <a:pt x="639559" y="3172981"/>
                  </a:lnTo>
                  <a:lnTo>
                    <a:pt x="2006205" y="3172981"/>
                  </a:lnTo>
                </a:path>
              </a:pathLst>
            </a:custGeom>
            <a:solidFill>
              <a:schemeClr val="bg1"/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Volný tvar 22">
              <a:extLst>
                <a:ext uri="{FF2B5EF4-FFF2-40B4-BE49-F238E27FC236}">
                  <a16:creationId xmlns:a16="http://schemas.microsoft.com/office/drawing/2014/main" id="{A535E9E5-2FF9-4114-9BB9-D379D5D67640}"/>
                </a:ext>
              </a:extLst>
            </p:cNvPr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Volný tvar 24">
              <a:extLst>
                <a:ext uri="{FF2B5EF4-FFF2-40B4-BE49-F238E27FC236}">
                  <a16:creationId xmlns:a16="http://schemas.microsoft.com/office/drawing/2014/main" id="{75066262-A4BF-4CDE-9016-C6AB4A84EF3D}"/>
                </a:ext>
              </a:extLst>
            </p:cNvPr>
            <p:cNvSpPr/>
            <p:nvPr userDrawn="1"/>
          </p:nvSpPr>
          <p:spPr>
            <a:xfrm>
              <a:off x="-7373" y="-6667"/>
              <a:ext cx="8689012" cy="4440694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  <a:gd name="connsiteX0" fmla="*/ 8674844 w 8674844"/>
                <a:gd name="connsiteY0" fmla="*/ 1891102 h 4439245"/>
                <a:gd name="connsiteX1" fmla="*/ 2373282 w 8674844"/>
                <a:gd name="connsiteY1" fmla="*/ 0 h 4439245"/>
                <a:gd name="connsiteX2" fmla="*/ 0 w 8674844"/>
                <a:gd name="connsiteY2" fmla="*/ 1905 h 4439245"/>
                <a:gd name="connsiteX3" fmla="*/ 0 w 8674844"/>
                <a:gd name="connsiteY3" fmla="*/ 4439245 h 4439245"/>
                <a:gd name="connsiteX0" fmla="*/ 8674844 w 8674844"/>
                <a:gd name="connsiteY0" fmla="*/ 1891102 h 4439245"/>
                <a:gd name="connsiteX1" fmla="*/ 2382799 w 8674844"/>
                <a:gd name="connsiteY1" fmla="*/ 0 h 4439245"/>
                <a:gd name="connsiteX2" fmla="*/ 0 w 8674844"/>
                <a:gd name="connsiteY2" fmla="*/ 1905 h 4439245"/>
                <a:gd name="connsiteX3" fmla="*/ 0 w 8674844"/>
                <a:gd name="connsiteY3" fmla="*/ 4439245 h 4439245"/>
                <a:gd name="connsiteX0" fmla="*/ 8677223 w 8677223"/>
                <a:gd name="connsiteY0" fmla="*/ 1891102 h 4439245"/>
                <a:gd name="connsiteX1" fmla="*/ 2385178 w 8677223"/>
                <a:gd name="connsiteY1" fmla="*/ 0 h 4439245"/>
                <a:gd name="connsiteX2" fmla="*/ 0 w 8677223"/>
                <a:gd name="connsiteY2" fmla="*/ 1905 h 4439245"/>
                <a:gd name="connsiteX3" fmla="*/ 2379 w 8677223"/>
                <a:gd name="connsiteY3" fmla="*/ 4439245 h 4439245"/>
                <a:gd name="connsiteX0" fmla="*/ 8677223 w 8677223"/>
                <a:gd name="connsiteY0" fmla="*/ 1891102 h 4439245"/>
                <a:gd name="connsiteX1" fmla="*/ 2385178 w 8677223"/>
                <a:gd name="connsiteY1" fmla="*/ 0 h 4439245"/>
                <a:gd name="connsiteX2" fmla="*/ 0 w 8677223"/>
                <a:gd name="connsiteY2" fmla="*/ 1905 h 4439245"/>
                <a:gd name="connsiteX3" fmla="*/ 0 w 8677223"/>
                <a:gd name="connsiteY3" fmla="*/ 4439245 h 4439245"/>
                <a:gd name="connsiteX0" fmla="*/ 8679603 w 8679603"/>
                <a:gd name="connsiteY0" fmla="*/ 1891102 h 4439245"/>
                <a:gd name="connsiteX1" fmla="*/ 2387558 w 8679603"/>
                <a:gd name="connsiteY1" fmla="*/ 0 h 4439245"/>
                <a:gd name="connsiteX2" fmla="*/ 2380 w 8679603"/>
                <a:gd name="connsiteY2" fmla="*/ 1905 h 4439245"/>
                <a:gd name="connsiteX3" fmla="*/ 0 w 8679603"/>
                <a:gd name="connsiteY3" fmla="*/ 4439245 h 4439245"/>
                <a:gd name="connsiteX0" fmla="*/ 8679831 w 8679831"/>
                <a:gd name="connsiteY0" fmla="*/ 1891102 h 4439245"/>
                <a:gd name="connsiteX1" fmla="*/ 2387786 w 8679831"/>
                <a:gd name="connsiteY1" fmla="*/ 0 h 4439245"/>
                <a:gd name="connsiteX2" fmla="*/ 229 w 8679831"/>
                <a:gd name="connsiteY2" fmla="*/ 1905 h 4439245"/>
                <a:gd name="connsiteX3" fmla="*/ 228 w 8679831"/>
                <a:gd name="connsiteY3" fmla="*/ 4439245 h 4439245"/>
                <a:gd name="connsiteX0" fmla="*/ 8679831 w 8679831"/>
                <a:gd name="connsiteY0" fmla="*/ 1891578 h 4439721"/>
                <a:gd name="connsiteX1" fmla="*/ 2387786 w 8679831"/>
                <a:gd name="connsiteY1" fmla="*/ 476 h 4439721"/>
                <a:gd name="connsiteX2" fmla="*/ 229 w 8679831"/>
                <a:gd name="connsiteY2" fmla="*/ 0 h 4439721"/>
                <a:gd name="connsiteX3" fmla="*/ 228 w 8679831"/>
                <a:gd name="connsiteY3" fmla="*/ 4439721 h 4439721"/>
                <a:gd name="connsiteX0" fmla="*/ 8679831 w 8679831"/>
                <a:gd name="connsiteY0" fmla="*/ 1893483 h 4441626"/>
                <a:gd name="connsiteX1" fmla="*/ 2385406 w 8679831"/>
                <a:gd name="connsiteY1" fmla="*/ 0 h 4441626"/>
                <a:gd name="connsiteX2" fmla="*/ 229 w 8679831"/>
                <a:gd name="connsiteY2" fmla="*/ 1905 h 4441626"/>
                <a:gd name="connsiteX3" fmla="*/ 228 w 8679831"/>
                <a:gd name="connsiteY3" fmla="*/ 4441626 h 4441626"/>
                <a:gd name="connsiteX0" fmla="*/ 8679831 w 8679831"/>
                <a:gd name="connsiteY0" fmla="*/ 1893483 h 4441626"/>
                <a:gd name="connsiteX1" fmla="*/ 2383027 w 8679831"/>
                <a:gd name="connsiteY1" fmla="*/ 0 h 4441626"/>
                <a:gd name="connsiteX2" fmla="*/ 229 w 8679831"/>
                <a:gd name="connsiteY2" fmla="*/ 1905 h 4441626"/>
                <a:gd name="connsiteX3" fmla="*/ 228 w 8679831"/>
                <a:gd name="connsiteY3" fmla="*/ 4441626 h 4441626"/>
                <a:gd name="connsiteX0" fmla="*/ 8682086 w 8682086"/>
                <a:gd name="connsiteY0" fmla="*/ 1893483 h 4441626"/>
                <a:gd name="connsiteX1" fmla="*/ 2385282 w 8682086"/>
                <a:gd name="connsiteY1" fmla="*/ 0 h 4441626"/>
                <a:gd name="connsiteX2" fmla="*/ 105 w 8682086"/>
                <a:gd name="connsiteY2" fmla="*/ 1905 h 4441626"/>
                <a:gd name="connsiteX3" fmla="*/ 2483 w 8682086"/>
                <a:gd name="connsiteY3" fmla="*/ 4441626 h 4441626"/>
                <a:gd name="connsiteX0" fmla="*/ 8682210 w 8682210"/>
                <a:gd name="connsiteY0" fmla="*/ 1893483 h 4441626"/>
                <a:gd name="connsiteX1" fmla="*/ 2385406 w 8682210"/>
                <a:gd name="connsiteY1" fmla="*/ 0 h 4441626"/>
                <a:gd name="connsiteX2" fmla="*/ 229 w 8682210"/>
                <a:gd name="connsiteY2" fmla="*/ 1905 h 4441626"/>
                <a:gd name="connsiteX3" fmla="*/ 228 w 8682210"/>
                <a:gd name="connsiteY3" fmla="*/ 4441626 h 4441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82210" h="4441626">
                  <a:moveTo>
                    <a:pt x="8682210" y="1893483"/>
                  </a:moveTo>
                  <a:lnTo>
                    <a:pt x="2385406" y="0"/>
                  </a:lnTo>
                  <a:lnTo>
                    <a:pt x="229" y="1905"/>
                  </a:lnTo>
                  <a:cubicBezTo>
                    <a:pt x="-564" y="1481018"/>
                    <a:pt x="1021" y="2962513"/>
                    <a:pt x="228" y="4441626"/>
                  </a:cubicBez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39171F06-4D7A-4798-9931-363683B123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7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9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22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23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noProof="0" smtClean="0"/>
              <a:t>Prezentace PSW-V2, PSW-V/2, Kejmar Jiří, 15.11.2019</a:t>
            </a:r>
            <a:endParaRPr lang="cs-CZ" noProof="0" dirty="0"/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0562AFEF-79CA-4538-9C4C-0862604ADD41}"/>
              </a:ext>
            </a:extLst>
          </p:cNvPr>
          <p:cNvSpPr txBox="1"/>
          <p:nvPr userDrawn="1"/>
        </p:nvSpPr>
        <p:spPr>
          <a:xfrm>
            <a:off x="9720000" y="7358802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b="1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49883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912841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1331897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1"/>
            <a:ext cx="6551028" cy="5183049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2692688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Skupina 17">
            <a:extLst>
              <a:ext uri="{FF2B5EF4-FFF2-40B4-BE49-F238E27FC236}">
                <a16:creationId xmlns:a16="http://schemas.microsoft.com/office/drawing/2014/main" id="{E4D7E3E3-3A72-42FF-A3BD-623C78CFB476}"/>
              </a:ext>
            </a:extLst>
          </p:cNvPr>
          <p:cNvGrpSpPr/>
          <p:nvPr userDrawn="1"/>
        </p:nvGrpSpPr>
        <p:grpSpPr>
          <a:xfrm>
            <a:off x="-7373" y="-7146"/>
            <a:ext cx="10699366" cy="5875676"/>
            <a:chOff x="-7373" y="-7146"/>
            <a:chExt cx="10699366" cy="5875676"/>
          </a:xfrm>
        </p:grpSpPr>
        <p:sp>
          <p:nvSpPr>
            <p:cNvPr id="23" name="Volný tvar 23">
              <a:extLst>
                <a:ext uri="{FF2B5EF4-FFF2-40B4-BE49-F238E27FC236}">
                  <a16:creationId xmlns:a16="http://schemas.microsoft.com/office/drawing/2014/main" id="{8B6CA56C-6B4A-4969-A4F6-A5B044ABB881}"/>
                </a:ext>
              </a:extLst>
            </p:cNvPr>
            <p:cNvSpPr/>
            <p:nvPr userDrawn="1"/>
          </p:nvSpPr>
          <p:spPr>
            <a:xfrm>
              <a:off x="2371903" y="-5557"/>
              <a:ext cx="7167730" cy="1895655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9266"/>
                <a:gd name="connsiteY0" fmla="*/ 1887397 h 1887397"/>
                <a:gd name="connsiteX1" fmla="*/ 7159266 w 7159266"/>
                <a:gd name="connsiteY1" fmla="*/ 0 h 1887397"/>
                <a:gd name="connsiteX2" fmla="*/ 0 w 7159266"/>
                <a:gd name="connsiteY2" fmla="*/ 3161 h 1887397"/>
                <a:gd name="connsiteX0" fmla="*/ 6307128 w 7168792"/>
                <a:gd name="connsiteY0" fmla="*/ 1887397 h 1887397"/>
                <a:gd name="connsiteX1" fmla="*/ 7168792 w 7168792"/>
                <a:gd name="connsiteY1" fmla="*/ 0 h 1887397"/>
                <a:gd name="connsiteX2" fmla="*/ 0 w 7168792"/>
                <a:gd name="connsiteY2" fmla="*/ 0 h 188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68792" h="1887397">
                  <a:moveTo>
                    <a:pt x="6307128" y="1887397"/>
                  </a:moveTo>
                  <a:lnTo>
                    <a:pt x="7168792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cs-CZ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Volný tvar 19">
              <a:extLst>
                <a:ext uri="{FF2B5EF4-FFF2-40B4-BE49-F238E27FC236}">
                  <a16:creationId xmlns:a16="http://schemas.microsoft.com/office/drawing/2014/main" id="{41A1535D-55BD-4992-A815-5DC6313F84FB}"/>
                </a:ext>
              </a:extLst>
            </p:cNvPr>
            <p:cNvSpPr/>
            <p:nvPr userDrawn="1"/>
          </p:nvSpPr>
          <p:spPr>
            <a:xfrm>
              <a:off x="8674330" y="-7146"/>
              <a:ext cx="2017489" cy="3172313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  <a:gd name="connsiteX0" fmla="*/ 2009594 w 2009594"/>
                <a:gd name="connsiteY0" fmla="*/ 2383 h 3168216"/>
                <a:gd name="connsiteX1" fmla="*/ 86330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2383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0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11963 w 2011963"/>
                <a:gd name="connsiteY0" fmla="*/ 0 h 3168216"/>
                <a:gd name="connsiteX1" fmla="*/ 863299 w 2011963"/>
                <a:gd name="connsiteY1" fmla="*/ 0 h 3168216"/>
                <a:gd name="connsiteX2" fmla="*/ 0 w 2011963"/>
                <a:gd name="connsiteY2" fmla="*/ 1896185 h 3168216"/>
                <a:gd name="connsiteX3" fmla="*/ 644299 w 2011963"/>
                <a:gd name="connsiteY3" fmla="*/ 3168216 h 3168216"/>
                <a:gd name="connsiteX4" fmla="*/ 2010945 w 2011963"/>
                <a:gd name="connsiteY4" fmla="*/ 3168216 h 3168216"/>
                <a:gd name="connsiteX0" fmla="*/ 2007224 w 2007224"/>
                <a:gd name="connsiteY0" fmla="*/ 0 h 3168216"/>
                <a:gd name="connsiteX1" fmla="*/ 858560 w 2007224"/>
                <a:gd name="connsiteY1" fmla="*/ 0 h 3168216"/>
                <a:gd name="connsiteX2" fmla="*/ 0 w 2007224"/>
                <a:gd name="connsiteY2" fmla="*/ 1898566 h 3168216"/>
                <a:gd name="connsiteX3" fmla="*/ 639560 w 2007224"/>
                <a:gd name="connsiteY3" fmla="*/ 3168216 h 3168216"/>
                <a:gd name="connsiteX4" fmla="*/ 2006206 w 2007224"/>
                <a:gd name="connsiteY4" fmla="*/ 3168216 h 3168216"/>
                <a:gd name="connsiteX0" fmla="*/ 2009593 w 2009593"/>
                <a:gd name="connsiteY0" fmla="*/ 0 h 3168216"/>
                <a:gd name="connsiteX1" fmla="*/ 860929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9593 w 2009593"/>
                <a:gd name="connsiteY0" fmla="*/ 0 h 3168216"/>
                <a:gd name="connsiteX1" fmla="*/ 856191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7223 w 2007223"/>
                <a:gd name="connsiteY0" fmla="*/ 0 h 3168216"/>
                <a:gd name="connsiteX1" fmla="*/ 853821 w 2007223"/>
                <a:gd name="connsiteY1" fmla="*/ 0 h 3168216"/>
                <a:gd name="connsiteX2" fmla="*/ 0 w 2007223"/>
                <a:gd name="connsiteY2" fmla="*/ 1893803 h 3168216"/>
                <a:gd name="connsiteX3" fmla="*/ 639559 w 2007223"/>
                <a:gd name="connsiteY3" fmla="*/ 3168216 h 3168216"/>
                <a:gd name="connsiteX4" fmla="*/ 2006205 w 2007223"/>
                <a:gd name="connsiteY4" fmla="*/ 3168216 h 3168216"/>
                <a:gd name="connsiteX0" fmla="*/ 2007223 w 2007223"/>
                <a:gd name="connsiteY0" fmla="*/ 2383 h 3170599"/>
                <a:gd name="connsiteX1" fmla="*/ 853821 w 2007223"/>
                <a:gd name="connsiteY1" fmla="*/ 0 h 3170599"/>
                <a:gd name="connsiteX2" fmla="*/ 0 w 2007223"/>
                <a:gd name="connsiteY2" fmla="*/ 1896186 h 3170599"/>
                <a:gd name="connsiteX3" fmla="*/ 639559 w 2007223"/>
                <a:gd name="connsiteY3" fmla="*/ 3170599 h 3170599"/>
                <a:gd name="connsiteX4" fmla="*/ 2006205 w 2007223"/>
                <a:gd name="connsiteY4" fmla="*/ 3170599 h 3170599"/>
                <a:gd name="connsiteX0" fmla="*/ 2007223 w 2007223"/>
                <a:gd name="connsiteY0" fmla="*/ 4765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  <a:gd name="connsiteX0" fmla="*/ 2007223 w 2007223"/>
                <a:gd name="connsiteY0" fmla="*/ 2383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223" h="3172981">
                  <a:moveTo>
                    <a:pt x="2007223" y="2383"/>
                  </a:moveTo>
                  <a:lnTo>
                    <a:pt x="856190" y="0"/>
                  </a:lnTo>
                  <a:lnTo>
                    <a:pt x="0" y="1898568"/>
                  </a:lnTo>
                  <a:lnTo>
                    <a:pt x="639559" y="3172981"/>
                  </a:lnTo>
                  <a:lnTo>
                    <a:pt x="2006205" y="3172981"/>
                  </a:lnTo>
                </a:path>
              </a:pathLst>
            </a:custGeom>
            <a:solidFill>
              <a:schemeClr val="bg1"/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Volný tvar 22">
              <a:extLst>
                <a:ext uri="{FF2B5EF4-FFF2-40B4-BE49-F238E27FC236}">
                  <a16:creationId xmlns:a16="http://schemas.microsoft.com/office/drawing/2014/main" id="{8403BC0F-E75C-4734-848B-04EBAE37258F}"/>
                </a:ext>
              </a:extLst>
            </p:cNvPr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Volný tvar 24">
              <a:extLst>
                <a:ext uri="{FF2B5EF4-FFF2-40B4-BE49-F238E27FC236}">
                  <a16:creationId xmlns:a16="http://schemas.microsoft.com/office/drawing/2014/main" id="{1830858B-06A7-49D1-9DA0-F62AAC3478ED}"/>
                </a:ext>
              </a:extLst>
            </p:cNvPr>
            <p:cNvSpPr/>
            <p:nvPr userDrawn="1"/>
          </p:nvSpPr>
          <p:spPr>
            <a:xfrm>
              <a:off x="-7373" y="-6667"/>
              <a:ext cx="8689012" cy="4440694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  <a:gd name="connsiteX0" fmla="*/ 8674844 w 8674844"/>
                <a:gd name="connsiteY0" fmla="*/ 1891102 h 4439245"/>
                <a:gd name="connsiteX1" fmla="*/ 2373282 w 8674844"/>
                <a:gd name="connsiteY1" fmla="*/ 0 h 4439245"/>
                <a:gd name="connsiteX2" fmla="*/ 0 w 8674844"/>
                <a:gd name="connsiteY2" fmla="*/ 1905 h 4439245"/>
                <a:gd name="connsiteX3" fmla="*/ 0 w 8674844"/>
                <a:gd name="connsiteY3" fmla="*/ 4439245 h 4439245"/>
                <a:gd name="connsiteX0" fmla="*/ 8674844 w 8674844"/>
                <a:gd name="connsiteY0" fmla="*/ 1891102 h 4439245"/>
                <a:gd name="connsiteX1" fmla="*/ 2382799 w 8674844"/>
                <a:gd name="connsiteY1" fmla="*/ 0 h 4439245"/>
                <a:gd name="connsiteX2" fmla="*/ 0 w 8674844"/>
                <a:gd name="connsiteY2" fmla="*/ 1905 h 4439245"/>
                <a:gd name="connsiteX3" fmla="*/ 0 w 8674844"/>
                <a:gd name="connsiteY3" fmla="*/ 4439245 h 4439245"/>
                <a:gd name="connsiteX0" fmla="*/ 8677223 w 8677223"/>
                <a:gd name="connsiteY0" fmla="*/ 1891102 h 4439245"/>
                <a:gd name="connsiteX1" fmla="*/ 2385178 w 8677223"/>
                <a:gd name="connsiteY1" fmla="*/ 0 h 4439245"/>
                <a:gd name="connsiteX2" fmla="*/ 0 w 8677223"/>
                <a:gd name="connsiteY2" fmla="*/ 1905 h 4439245"/>
                <a:gd name="connsiteX3" fmla="*/ 2379 w 8677223"/>
                <a:gd name="connsiteY3" fmla="*/ 4439245 h 4439245"/>
                <a:gd name="connsiteX0" fmla="*/ 8677223 w 8677223"/>
                <a:gd name="connsiteY0" fmla="*/ 1891102 h 4439245"/>
                <a:gd name="connsiteX1" fmla="*/ 2385178 w 8677223"/>
                <a:gd name="connsiteY1" fmla="*/ 0 h 4439245"/>
                <a:gd name="connsiteX2" fmla="*/ 0 w 8677223"/>
                <a:gd name="connsiteY2" fmla="*/ 1905 h 4439245"/>
                <a:gd name="connsiteX3" fmla="*/ 0 w 8677223"/>
                <a:gd name="connsiteY3" fmla="*/ 4439245 h 4439245"/>
                <a:gd name="connsiteX0" fmla="*/ 8679603 w 8679603"/>
                <a:gd name="connsiteY0" fmla="*/ 1891102 h 4439245"/>
                <a:gd name="connsiteX1" fmla="*/ 2387558 w 8679603"/>
                <a:gd name="connsiteY1" fmla="*/ 0 h 4439245"/>
                <a:gd name="connsiteX2" fmla="*/ 2380 w 8679603"/>
                <a:gd name="connsiteY2" fmla="*/ 1905 h 4439245"/>
                <a:gd name="connsiteX3" fmla="*/ 0 w 8679603"/>
                <a:gd name="connsiteY3" fmla="*/ 4439245 h 4439245"/>
                <a:gd name="connsiteX0" fmla="*/ 8679831 w 8679831"/>
                <a:gd name="connsiteY0" fmla="*/ 1891102 h 4439245"/>
                <a:gd name="connsiteX1" fmla="*/ 2387786 w 8679831"/>
                <a:gd name="connsiteY1" fmla="*/ 0 h 4439245"/>
                <a:gd name="connsiteX2" fmla="*/ 229 w 8679831"/>
                <a:gd name="connsiteY2" fmla="*/ 1905 h 4439245"/>
                <a:gd name="connsiteX3" fmla="*/ 228 w 8679831"/>
                <a:gd name="connsiteY3" fmla="*/ 4439245 h 4439245"/>
                <a:gd name="connsiteX0" fmla="*/ 8679831 w 8679831"/>
                <a:gd name="connsiteY0" fmla="*/ 1891578 h 4439721"/>
                <a:gd name="connsiteX1" fmla="*/ 2387786 w 8679831"/>
                <a:gd name="connsiteY1" fmla="*/ 476 h 4439721"/>
                <a:gd name="connsiteX2" fmla="*/ 229 w 8679831"/>
                <a:gd name="connsiteY2" fmla="*/ 0 h 4439721"/>
                <a:gd name="connsiteX3" fmla="*/ 228 w 8679831"/>
                <a:gd name="connsiteY3" fmla="*/ 4439721 h 4439721"/>
                <a:gd name="connsiteX0" fmla="*/ 8679831 w 8679831"/>
                <a:gd name="connsiteY0" fmla="*/ 1893483 h 4441626"/>
                <a:gd name="connsiteX1" fmla="*/ 2385406 w 8679831"/>
                <a:gd name="connsiteY1" fmla="*/ 0 h 4441626"/>
                <a:gd name="connsiteX2" fmla="*/ 229 w 8679831"/>
                <a:gd name="connsiteY2" fmla="*/ 1905 h 4441626"/>
                <a:gd name="connsiteX3" fmla="*/ 228 w 8679831"/>
                <a:gd name="connsiteY3" fmla="*/ 4441626 h 4441626"/>
                <a:gd name="connsiteX0" fmla="*/ 8679831 w 8679831"/>
                <a:gd name="connsiteY0" fmla="*/ 1893483 h 4441626"/>
                <a:gd name="connsiteX1" fmla="*/ 2383027 w 8679831"/>
                <a:gd name="connsiteY1" fmla="*/ 0 h 4441626"/>
                <a:gd name="connsiteX2" fmla="*/ 229 w 8679831"/>
                <a:gd name="connsiteY2" fmla="*/ 1905 h 4441626"/>
                <a:gd name="connsiteX3" fmla="*/ 228 w 8679831"/>
                <a:gd name="connsiteY3" fmla="*/ 4441626 h 4441626"/>
                <a:gd name="connsiteX0" fmla="*/ 8682086 w 8682086"/>
                <a:gd name="connsiteY0" fmla="*/ 1893483 h 4441626"/>
                <a:gd name="connsiteX1" fmla="*/ 2385282 w 8682086"/>
                <a:gd name="connsiteY1" fmla="*/ 0 h 4441626"/>
                <a:gd name="connsiteX2" fmla="*/ 105 w 8682086"/>
                <a:gd name="connsiteY2" fmla="*/ 1905 h 4441626"/>
                <a:gd name="connsiteX3" fmla="*/ 2483 w 8682086"/>
                <a:gd name="connsiteY3" fmla="*/ 4441626 h 4441626"/>
                <a:gd name="connsiteX0" fmla="*/ 8682210 w 8682210"/>
                <a:gd name="connsiteY0" fmla="*/ 1893483 h 4441626"/>
                <a:gd name="connsiteX1" fmla="*/ 2385406 w 8682210"/>
                <a:gd name="connsiteY1" fmla="*/ 0 h 4441626"/>
                <a:gd name="connsiteX2" fmla="*/ 229 w 8682210"/>
                <a:gd name="connsiteY2" fmla="*/ 1905 h 4441626"/>
                <a:gd name="connsiteX3" fmla="*/ 228 w 8682210"/>
                <a:gd name="connsiteY3" fmla="*/ 4441626 h 4441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82210" h="4441626">
                  <a:moveTo>
                    <a:pt x="8682210" y="1893483"/>
                  </a:moveTo>
                  <a:lnTo>
                    <a:pt x="2385406" y="0"/>
                  </a:lnTo>
                  <a:lnTo>
                    <a:pt x="229" y="1905"/>
                  </a:lnTo>
                  <a:cubicBezTo>
                    <a:pt x="-564" y="1481018"/>
                    <a:pt x="1021" y="2962513"/>
                    <a:pt x="228" y="4441626"/>
                  </a:cubicBez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0975184C-7CC1-49A7-B932-5D380346A6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3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9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394ACBCF-1D65-4BBB-994C-F3B9A53C7803}"/>
              </a:ext>
            </a:extLst>
          </p:cNvPr>
          <p:cNvSpPr txBox="1"/>
          <p:nvPr userDrawn="1"/>
        </p:nvSpPr>
        <p:spPr>
          <a:xfrm>
            <a:off x="9720000" y="7358802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b="1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188422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Skupina 17">
            <a:extLst>
              <a:ext uri="{FF2B5EF4-FFF2-40B4-BE49-F238E27FC236}">
                <a16:creationId xmlns:a16="http://schemas.microsoft.com/office/drawing/2014/main" id="{1DB466DA-6D5E-498C-B948-D95389CE0842}"/>
              </a:ext>
            </a:extLst>
          </p:cNvPr>
          <p:cNvGrpSpPr/>
          <p:nvPr userDrawn="1"/>
        </p:nvGrpSpPr>
        <p:grpSpPr>
          <a:xfrm>
            <a:off x="-1" y="-7146"/>
            <a:ext cx="10691994" cy="5875676"/>
            <a:chOff x="-1" y="-7146"/>
            <a:chExt cx="10691994" cy="5875676"/>
          </a:xfrm>
        </p:grpSpPr>
        <p:sp>
          <p:nvSpPr>
            <p:cNvPr id="23" name="Volný tvar 23">
              <a:extLst>
                <a:ext uri="{FF2B5EF4-FFF2-40B4-BE49-F238E27FC236}">
                  <a16:creationId xmlns:a16="http://schemas.microsoft.com/office/drawing/2014/main" id="{F39E2B5C-B436-4270-AC6B-4389674D87A0}"/>
                </a:ext>
              </a:extLst>
            </p:cNvPr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7602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Volný tvar 19">
              <a:extLst>
                <a:ext uri="{FF2B5EF4-FFF2-40B4-BE49-F238E27FC236}">
                  <a16:creationId xmlns:a16="http://schemas.microsoft.com/office/drawing/2014/main" id="{207762D4-67C1-4839-BCFA-9D2DC0A49DF4}"/>
                </a:ext>
              </a:extLst>
            </p:cNvPr>
            <p:cNvSpPr/>
            <p:nvPr userDrawn="1"/>
          </p:nvSpPr>
          <p:spPr>
            <a:xfrm>
              <a:off x="8674330" y="-7146"/>
              <a:ext cx="2017489" cy="3172313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  <a:gd name="connsiteX0" fmla="*/ 2009594 w 2009594"/>
                <a:gd name="connsiteY0" fmla="*/ 2383 h 3168216"/>
                <a:gd name="connsiteX1" fmla="*/ 86330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2383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0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11963 w 2011963"/>
                <a:gd name="connsiteY0" fmla="*/ 0 h 3168216"/>
                <a:gd name="connsiteX1" fmla="*/ 863299 w 2011963"/>
                <a:gd name="connsiteY1" fmla="*/ 0 h 3168216"/>
                <a:gd name="connsiteX2" fmla="*/ 0 w 2011963"/>
                <a:gd name="connsiteY2" fmla="*/ 1896185 h 3168216"/>
                <a:gd name="connsiteX3" fmla="*/ 644299 w 2011963"/>
                <a:gd name="connsiteY3" fmla="*/ 3168216 h 3168216"/>
                <a:gd name="connsiteX4" fmla="*/ 2010945 w 2011963"/>
                <a:gd name="connsiteY4" fmla="*/ 3168216 h 3168216"/>
                <a:gd name="connsiteX0" fmla="*/ 2007224 w 2007224"/>
                <a:gd name="connsiteY0" fmla="*/ 0 h 3168216"/>
                <a:gd name="connsiteX1" fmla="*/ 858560 w 2007224"/>
                <a:gd name="connsiteY1" fmla="*/ 0 h 3168216"/>
                <a:gd name="connsiteX2" fmla="*/ 0 w 2007224"/>
                <a:gd name="connsiteY2" fmla="*/ 1898566 h 3168216"/>
                <a:gd name="connsiteX3" fmla="*/ 639560 w 2007224"/>
                <a:gd name="connsiteY3" fmla="*/ 3168216 h 3168216"/>
                <a:gd name="connsiteX4" fmla="*/ 2006206 w 2007224"/>
                <a:gd name="connsiteY4" fmla="*/ 3168216 h 3168216"/>
                <a:gd name="connsiteX0" fmla="*/ 2009593 w 2009593"/>
                <a:gd name="connsiteY0" fmla="*/ 0 h 3168216"/>
                <a:gd name="connsiteX1" fmla="*/ 860929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9593 w 2009593"/>
                <a:gd name="connsiteY0" fmla="*/ 0 h 3168216"/>
                <a:gd name="connsiteX1" fmla="*/ 856191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7223 w 2007223"/>
                <a:gd name="connsiteY0" fmla="*/ 0 h 3168216"/>
                <a:gd name="connsiteX1" fmla="*/ 853821 w 2007223"/>
                <a:gd name="connsiteY1" fmla="*/ 0 h 3168216"/>
                <a:gd name="connsiteX2" fmla="*/ 0 w 2007223"/>
                <a:gd name="connsiteY2" fmla="*/ 1893803 h 3168216"/>
                <a:gd name="connsiteX3" fmla="*/ 639559 w 2007223"/>
                <a:gd name="connsiteY3" fmla="*/ 3168216 h 3168216"/>
                <a:gd name="connsiteX4" fmla="*/ 2006205 w 2007223"/>
                <a:gd name="connsiteY4" fmla="*/ 3168216 h 3168216"/>
                <a:gd name="connsiteX0" fmla="*/ 2007223 w 2007223"/>
                <a:gd name="connsiteY0" fmla="*/ 2383 h 3170599"/>
                <a:gd name="connsiteX1" fmla="*/ 853821 w 2007223"/>
                <a:gd name="connsiteY1" fmla="*/ 0 h 3170599"/>
                <a:gd name="connsiteX2" fmla="*/ 0 w 2007223"/>
                <a:gd name="connsiteY2" fmla="*/ 1896186 h 3170599"/>
                <a:gd name="connsiteX3" fmla="*/ 639559 w 2007223"/>
                <a:gd name="connsiteY3" fmla="*/ 3170599 h 3170599"/>
                <a:gd name="connsiteX4" fmla="*/ 2006205 w 2007223"/>
                <a:gd name="connsiteY4" fmla="*/ 3170599 h 3170599"/>
                <a:gd name="connsiteX0" fmla="*/ 2007223 w 2007223"/>
                <a:gd name="connsiteY0" fmla="*/ 4765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  <a:gd name="connsiteX0" fmla="*/ 2007223 w 2007223"/>
                <a:gd name="connsiteY0" fmla="*/ 2383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223" h="3172981">
                  <a:moveTo>
                    <a:pt x="2007223" y="2383"/>
                  </a:moveTo>
                  <a:lnTo>
                    <a:pt x="856190" y="0"/>
                  </a:lnTo>
                  <a:lnTo>
                    <a:pt x="0" y="1898568"/>
                  </a:lnTo>
                  <a:lnTo>
                    <a:pt x="639559" y="3172981"/>
                  </a:lnTo>
                  <a:lnTo>
                    <a:pt x="2006205" y="3172981"/>
                  </a:lnTo>
                </a:path>
              </a:pathLst>
            </a:custGeom>
            <a:solidFill>
              <a:schemeClr val="bg1"/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Volný tvar 22">
              <a:extLst>
                <a:ext uri="{FF2B5EF4-FFF2-40B4-BE49-F238E27FC236}">
                  <a16:creationId xmlns:a16="http://schemas.microsoft.com/office/drawing/2014/main" id="{699AF55B-4E6B-454E-8656-CC3F069D2FC5}"/>
                </a:ext>
              </a:extLst>
            </p:cNvPr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Volný tvar 24">
              <a:extLst>
                <a:ext uri="{FF2B5EF4-FFF2-40B4-BE49-F238E27FC236}">
                  <a16:creationId xmlns:a16="http://schemas.microsoft.com/office/drawing/2014/main" id="{5609603D-61F6-475C-8B39-90108C98295C}"/>
                </a:ext>
              </a:extLst>
            </p:cNvPr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C9CBCCE8-014F-49CF-9FD7-FD3D102E4DF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4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9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971DCAF4-1DB5-4B1C-9B2D-638AC499322C}"/>
              </a:ext>
            </a:extLst>
          </p:cNvPr>
          <p:cNvSpPr txBox="1"/>
          <p:nvPr userDrawn="1"/>
        </p:nvSpPr>
        <p:spPr>
          <a:xfrm>
            <a:off x="9720000" y="7358802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b="1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670627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Skupina 17">
            <a:extLst>
              <a:ext uri="{FF2B5EF4-FFF2-40B4-BE49-F238E27FC236}">
                <a16:creationId xmlns:a16="http://schemas.microsoft.com/office/drawing/2014/main" id="{AC1EBE7A-7023-4F85-AE1E-D795C8162464}"/>
              </a:ext>
            </a:extLst>
          </p:cNvPr>
          <p:cNvGrpSpPr/>
          <p:nvPr userDrawn="1"/>
        </p:nvGrpSpPr>
        <p:grpSpPr>
          <a:xfrm>
            <a:off x="-7373" y="-7146"/>
            <a:ext cx="10699366" cy="5875676"/>
            <a:chOff x="-7373" y="-7146"/>
            <a:chExt cx="10699366" cy="5875676"/>
          </a:xfrm>
        </p:grpSpPr>
        <p:sp>
          <p:nvSpPr>
            <p:cNvPr id="23" name="Volný tvar 23">
              <a:extLst>
                <a:ext uri="{FF2B5EF4-FFF2-40B4-BE49-F238E27FC236}">
                  <a16:creationId xmlns:a16="http://schemas.microsoft.com/office/drawing/2014/main" id="{8F9D99D4-3216-4F21-910D-AA5D7DDB0AA8}"/>
                </a:ext>
              </a:extLst>
            </p:cNvPr>
            <p:cNvSpPr/>
            <p:nvPr userDrawn="1"/>
          </p:nvSpPr>
          <p:spPr>
            <a:xfrm>
              <a:off x="2371903" y="-5557"/>
              <a:ext cx="7167730" cy="1895655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9266"/>
                <a:gd name="connsiteY0" fmla="*/ 1887397 h 1887397"/>
                <a:gd name="connsiteX1" fmla="*/ 7159266 w 7159266"/>
                <a:gd name="connsiteY1" fmla="*/ 0 h 1887397"/>
                <a:gd name="connsiteX2" fmla="*/ 0 w 7159266"/>
                <a:gd name="connsiteY2" fmla="*/ 3161 h 1887397"/>
                <a:gd name="connsiteX0" fmla="*/ 6307128 w 7168792"/>
                <a:gd name="connsiteY0" fmla="*/ 1887397 h 1887397"/>
                <a:gd name="connsiteX1" fmla="*/ 7168792 w 7168792"/>
                <a:gd name="connsiteY1" fmla="*/ 0 h 1887397"/>
                <a:gd name="connsiteX2" fmla="*/ 0 w 7168792"/>
                <a:gd name="connsiteY2" fmla="*/ 0 h 188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68792" h="1887397">
                  <a:moveTo>
                    <a:pt x="6307128" y="1887397"/>
                  </a:moveTo>
                  <a:lnTo>
                    <a:pt x="7168792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cs-CZ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Volný tvar 19">
              <a:extLst>
                <a:ext uri="{FF2B5EF4-FFF2-40B4-BE49-F238E27FC236}">
                  <a16:creationId xmlns:a16="http://schemas.microsoft.com/office/drawing/2014/main" id="{21FE18A2-E8AF-4284-A8EE-836C85EF3038}"/>
                </a:ext>
              </a:extLst>
            </p:cNvPr>
            <p:cNvSpPr/>
            <p:nvPr userDrawn="1"/>
          </p:nvSpPr>
          <p:spPr>
            <a:xfrm>
              <a:off x="8674330" y="-7146"/>
              <a:ext cx="2017489" cy="3172313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  <a:gd name="connsiteX0" fmla="*/ 2009594 w 2009594"/>
                <a:gd name="connsiteY0" fmla="*/ 2383 h 3168216"/>
                <a:gd name="connsiteX1" fmla="*/ 86330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2383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0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11963 w 2011963"/>
                <a:gd name="connsiteY0" fmla="*/ 0 h 3168216"/>
                <a:gd name="connsiteX1" fmla="*/ 863299 w 2011963"/>
                <a:gd name="connsiteY1" fmla="*/ 0 h 3168216"/>
                <a:gd name="connsiteX2" fmla="*/ 0 w 2011963"/>
                <a:gd name="connsiteY2" fmla="*/ 1896185 h 3168216"/>
                <a:gd name="connsiteX3" fmla="*/ 644299 w 2011963"/>
                <a:gd name="connsiteY3" fmla="*/ 3168216 h 3168216"/>
                <a:gd name="connsiteX4" fmla="*/ 2010945 w 2011963"/>
                <a:gd name="connsiteY4" fmla="*/ 3168216 h 3168216"/>
                <a:gd name="connsiteX0" fmla="*/ 2007224 w 2007224"/>
                <a:gd name="connsiteY0" fmla="*/ 0 h 3168216"/>
                <a:gd name="connsiteX1" fmla="*/ 858560 w 2007224"/>
                <a:gd name="connsiteY1" fmla="*/ 0 h 3168216"/>
                <a:gd name="connsiteX2" fmla="*/ 0 w 2007224"/>
                <a:gd name="connsiteY2" fmla="*/ 1898566 h 3168216"/>
                <a:gd name="connsiteX3" fmla="*/ 639560 w 2007224"/>
                <a:gd name="connsiteY3" fmla="*/ 3168216 h 3168216"/>
                <a:gd name="connsiteX4" fmla="*/ 2006206 w 2007224"/>
                <a:gd name="connsiteY4" fmla="*/ 3168216 h 3168216"/>
                <a:gd name="connsiteX0" fmla="*/ 2009593 w 2009593"/>
                <a:gd name="connsiteY0" fmla="*/ 0 h 3168216"/>
                <a:gd name="connsiteX1" fmla="*/ 860929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9593 w 2009593"/>
                <a:gd name="connsiteY0" fmla="*/ 0 h 3168216"/>
                <a:gd name="connsiteX1" fmla="*/ 856191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7223 w 2007223"/>
                <a:gd name="connsiteY0" fmla="*/ 0 h 3168216"/>
                <a:gd name="connsiteX1" fmla="*/ 853821 w 2007223"/>
                <a:gd name="connsiteY1" fmla="*/ 0 h 3168216"/>
                <a:gd name="connsiteX2" fmla="*/ 0 w 2007223"/>
                <a:gd name="connsiteY2" fmla="*/ 1893803 h 3168216"/>
                <a:gd name="connsiteX3" fmla="*/ 639559 w 2007223"/>
                <a:gd name="connsiteY3" fmla="*/ 3168216 h 3168216"/>
                <a:gd name="connsiteX4" fmla="*/ 2006205 w 2007223"/>
                <a:gd name="connsiteY4" fmla="*/ 3168216 h 3168216"/>
                <a:gd name="connsiteX0" fmla="*/ 2007223 w 2007223"/>
                <a:gd name="connsiteY0" fmla="*/ 2383 h 3170599"/>
                <a:gd name="connsiteX1" fmla="*/ 853821 w 2007223"/>
                <a:gd name="connsiteY1" fmla="*/ 0 h 3170599"/>
                <a:gd name="connsiteX2" fmla="*/ 0 w 2007223"/>
                <a:gd name="connsiteY2" fmla="*/ 1896186 h 3170599"/>
                <a:gd name="connsiteX3" fmla="*/ 639559 w 2007223"/>
                <a:gd name="connsiteY3" fmla="*/ 3170599 h 3170599"/>
                <a:gd name="connsiteX4" fmla="*/ 2006205 w 2007223"/>
                <a:gd name="connsiteY4" fmla="*/ 3170599 h 3170599"/>
                <a:gd name="connsiteX0" fmla="*/ 2007223 w 2007223"/>
                <a:gd name="connsiteY0" fmla="*/ 4765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  <a:gd name="connsiteX0" fmla="*/ 2007223 w 2007223"/>
                <a:gd name="connsiteY0" fmla="*/ 2383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223" h="3172981">
                  <a:moveTo>
                    <a:pt x="2007223" y="2383"/>
                  </a:moveTo>
                  <a:lnTo>
                    <a:pt x="856190" y="0"/>
                  </a:lnTo>
                  <a:lnTo>
                    <a:pt x="0" y="1898568"/>
                  </a:lnTo>
                  <a:lnTo>
                    <a:pt x="639559" y="3172981"/>
                  </a:lnTo>
                  <a:lnTo>
                    <a:pt x="2006205" y="3172981"/>
                  </a:lnTo>
                </a:path>
              </a:pathLst>
            </a:custGeom>
            <a:solidFill>
              <a:schemeClr val="bg1"/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Volný tvar 22">
              <a:extLst>
                <a:ext uri="{FF2B5EF4-FFF2-40B4-BE49-F238E27FC236}">
                  <a16:creationId xmlns:a16="http://schemas.microsoft.com/office/drawing/2014/main" id="{45879711-BADB-4A17-8E8B-C15403CDA6B4}"/>
                </a:ext>
              </a:extLst>
            </p:cNvPr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Volný tvar 24">
              <a:extLst>
                <a:ext uri="{FF2B5EF4-FFF2-40B4-BE49-F238E27FC236}">
                  <a16:creationId xmlns:a16="http://schemas.microsoft.com/office/drawing/2014/main" id="{923D5A31-31FC-41D0-83CF-6E123E217682}"/>
                </a:ext>
              </a:extLst>
            </p:cNvPr>
            <p:cNvSpPr/>
            <p:nvPr userDrawn="1"/>
          </p:nvSpPr>
          <p:spPr>
            <a:xfrm>
              <a:off x="-7373" y="-6667"/>
              <a:ext cx="8689012" cy="4440694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  <a:gd name="connsiteX0" fmla="*/ 8674844 w 8674844"/>
                <a:gd name="connsiteY0" fmla="*/ 1891102 h 4439245"/>
                <a:gd name="connsiteX1" fmla="*/ 2373282 w 8674844"/>
                <a:gd name="connsiteY1" fmla="*/ 0 h 4439245"/>
                <a:gd name="connsiteX2" fmla="*/ 0 w 8674844"/>
                <a:gd name="connsiteY2" fmla="*/ 1905 h 4439245"/>
                <a:gd name="connsiteX3" fmla="*/ 0 w 8674844"/>
                <a:gd name="connsiteY3" fmla="*/ 4439245 h 4439245"/>
                <a:gd name="connsiteX0" fmla="*/ 8674844 w 8674844"/>
                <a:gd name="connsiteY0" fmla="*/ 1891102 h 4439245"/>
                <a:gd name="connsiteX1" fmla="*/ 2382799 w 8674844"/>
                <a:gd name="connsiteY1" fmla="*/ 0 h 4439245"/>
                <a:gd name="connsiteX2" fmla="*/ 0 w 8674844"/>
                <a:gd name="connsiteY2" fmla="*/ 1905 h 4439245"/>
                <a:gd name="connsiteX3" fmla="*/ 0 w 8674844"/>
                <a:gd name="connsiteY3" fmla="*/ 4439245 h 4439245"/>
                <a:gd name="connsiteX0" fmla="*/ 8677223 w 8677223"/>
                <a:gd name="connsiteY0" fmla="*/ 1891102 h 4439245"/>
                <a:gd name="connsiteX1" fmla="*/ 2385178 w 8677223"/>
                <a:gd name="connsiteY1" fmla="*/ 0 h 4439245"/>
                <a:gd name="connsiteX2" fmla="*/ 0 w 8677223"/>
                <a:gd name="connsiteY2" fmla="*/ 1905 h 4439245"/>
                <a:gd name="connsiteX3" fmla="*/ 2379 w 8677223"/>
                <a:gd name="connsiteY3" fmla="*/ 4439245 h 4439245"/>
                <a:gd name="connsiteX0" fmla="*/ 8677223 w 8677223"/>
                <a:gd name="connsiteY0" fmla="*/ 1891102 h 4439245"/>
                <a:gd name="connsiteX1" fmla="*/ 2385178 w 8677223"/>
                <a:gd name="connsiteY1" fmla="*/ 0 h 4439245"/>
                <a:gd name="connsiteX2" fmla="*/ 0 w 8677223"/>
                <a:gd name="connsiteY2" fmla="*/ 1905 h 4439245"/>
                <a:gd name="connsiteX3" fmla="*/ 0 w 8677223"/>
                <a:gd name="connsiteY3" fmla="*/ 4439245 h 4439245"/>
                <a:gd name="connsiteX0" fmla="*/ 8679603 w 8679603"/>
                <a:gd name="connsiteY0" fmla="*/ 1891102 h 4439245"/>
                <a:gd name="connsiteX1" fmla="*/ 2387558 w 8679603"/>
                <a:gd name="connsiteY1" fmla="*/ 0 h 4439245"/>
                <a:gd name="connsiteX2" fmla="*/ 2380 w 8679603"/>
                <a:gd name="connsiteY2" fmla="*/ 1905 h 4439245"/>
                <a:gd name="connsiteX3" fmla="*/ 0 w 8679603"/>
                <a:gd name="connsiteY3" fmla="*/ 4439245 h 4439245"/>
                <a:gd name="connsiteX0" fmla="*/ 8679831 w 8679831"/>
                <a:gd name="connsiteY0" fmla="*/ 1891102 h 4439245"/>
                <a:gd name="connsiteX1" fmla="*/ 2387786 w 8679831"/>
                <a:gd name="connsiteY1" fmla="*/ 0 h 4439245"/>
                <a:gd name="connsiteX2" fmla="*/ 229 w 8679831"/>
                <a:gd name="connsiteY2" fmla="*/ 1905 h 4439245"/>
                <a:gd name="connsiteX3" fmla="*/ 228 w 8679831"/>
                <a:gd name="connsiteY3" fmla="*/ 4439245 h 4439245"/>
                <a:gd name="connsiteX0" fmla="*/ 8679831 w 8679831"/>
                <a:gd name="connsiteY0" fmla="*/ 1891578 h 4439721"/>
                <a:gd name="connsiteX1" fmla="*/ 2387786 w 8679831"/>
                <a:gd name="connsiteY1" fmla="*/ 476 h 4439721"/>
                <a:gd name="connsiteX2" fmla="*/ 229 w 8679831"/>
                <a:gd name="connsiteY2" fmla="*/ 0 h 4439721"/>
                <a:gd name="connsiteX3" fmla="*/ 228 w 8679831"/>
                <a:gd name="connsiteY3" fmla="*/ 4439721 h 4439721"/>
                <a:gd name="connsiteX0" fmla="*/ 8679831 w 8679831"/>
                <a:gd name="connsiteY0" fmla="*/ 1893483 h 4441626"/>
                <a:gd name="connsiteX1" fmla="*/ 2385406 w 8679831"/>
                <a:gd name="connsiteY1" fmla="*/ 0 h 4441626"/>
                <a:gd name="connsiteX2" fmla="*/ 229 w 8679831"/>
                <a:gd name="connsiteY2" fmla="*/ 1905 h 4441626"/>
                <a:gd name="connsiteX3" fmla="*/ 228 w 8679831"/>
                <a:gd name="connsiteY3" fmla="*/ 4441626 h 4441626"/>
                <a:gd name="connsiteX0" fmla="*/ 8679831 w 8679831"/>
                <a:gd name="connsiteY0" fmla="*/ 1893483 h 4441626"/>
                <a:gd name="connsiteX1" fmla="*/ 2383027 w 8679831"/>
                <a:gd name="connsiteY1" fmla="*/ 0 h 4441626"/>
                <a:gd name="connsiteX2" fmla="*/ 229 w 8679831"/>
                <a:gd name="connsiteY2" fmla="*/ 1905 h 4441626"/>
                <a:gd name="connsiteX3" fmla="*/ 228 w 8679831"/>
                <a:gd name="connsiteY3" fmla="*/ 4441626 h 4441626"/>
                <a:gd name="connsiteX0" fmla="*/ 8682086 w 8682086"/>
                <a:gd name="connsiteY0" fmla="*/ 1893483 h 4441626"/>
                <a:gd name="connsiteX1" fmla="*/ 2385282 w 8682086"/>
                <a:gd name="connsiteY1" fmla="*/ 0 h 4441626"/>
                <a:gd name="connsiteX2" fmla="*/ 105 w 8682086"/>
                <a:gd name="connsiteY2" fmla="*/ 1905 h 4441626"/>
                <a:gd name="connsiteX3" fmla="*/ 2483 w 8682086"/>
                <a:gd name="connsiteY3" fmla="*/ 4441626 h 4441626"/>
                <a:gd name="connsiteX0" fmla="*/ 8682210 w 8682210"/>
                <a:gd name="connsiteY0" fmla="*/ 1893483 h 4441626"/>
                <a:gd name="connsiteX1" fmla="*/ 2385406 w 8682210"/>
                <a:gd name="connsiteY1" fmla="*/ 0 h 4441626"/>
                <a:gd name="connsiteX2" fmla="*/ 229 w 8682210"/>
                <a:gd name="connsiteY2" fmla="*/ 1905 h 4441626"/>
                <a:gd name="connsiteX3" fmla="*/ 228 w 8682210"/>
                <a:gd name="connsiteY3" fmla="*/ 4441626 h 4441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82210" h="4441626">
                  <a:moveTo>
                    <a:pt x="8682210" y="1893483"/>
                  </a:moveTo>
                  <a:lnTo>
                    <a:pt x="2385406" y="0"/>
                  </a:lnTo>
                  <a:lnTo>
                    <a:pt x="229" y="1905"/>
                  </a:lnTo>
                  <a:cubicBezTo>
                    <a:pt x="-564" y="1481018"/>
                    <a:pt x="1021" y="2962513"/>
                    <a:pt x="228" y="4441626"/>
                  </a:cubicBez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9CD10152-B5D6-473D-B889-55D29FCB344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1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39887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9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9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03B4D062-7C4C-4891-BFCA-226686FB14B0}"/>
              </a:ext>
            </a:extLst>
          </p:cNvPr>
          <p:cNvSpPr txBox="1"/>
          <p:nvPr userDrawn="1"/>
        </p:nvSpPr>
        <p:spPr>
          <a:xfrm>
            <a:off x="9720000" y="7358802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b="1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107855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410637405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327503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8656736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0770026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939114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260744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573528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6327184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26004645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Skupina 17">
            <a:extLst>
              <a:ext uri="{FF2B5EF4-FFF2-40B4-BE49-F238E27FC236}">
                <a16:creationId xmlns:a16="http://schemas.microsoft.com/office/drawing/2014/main" id="{01C67A25-E98C-4C1D-807D-DC4D8F6AEF5E}"/>
              </a:ext>
            </a:extLst>
          </p:cNvPr>
          <p:cNvGrpSpPr/>
          <p:nvPr userDrawn="1"/>
        </p:nvGrpSpPr>
        <p:grpSpPr>
          <a:xfrm>
            <a:off x="-1" y="-7146"/>
            <a:ext cx="10691994" cy="5875676"/>
            <a:chOff x="-1" y="-7146"/>
            <a:chExt cx="10691994" cy="5875676"/>
          </a:xfrm>
        </p:grpSpPr>
        <p:sp>
          <p:nvSpPr>
            <p:cNvPr id="23" name="Volný tvar 23">
              <a:extLst>
                <a:ext uri="{FF2B5EF4-FFF2-40B4-BE49-F238E27FC236}">
                  <a16:creationId xmlns:a16="http://schemas.microsoft.com/office/drawing/2014/main" id="{36BC5590-FF04-4D21-8A02-CFF9F407DD39}"/>
                </a:ext>
              </a:extLst>
            </p:cNvPr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7602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Volný tvar 19">
              <a:extLst>
                <a:ext uri="{FF2B5EF4-FFF2-40B4-BE49-F238E27FC236}">
                  <a16:creationId xmlns:a16="http://schemas.microsoft.com/office/drawing/2014/main" id="{6AF01AC3-2BB5-4D54-A687-6833D3EA68E3}"/>
                </a:ext>
              </a:extLst>
            </p:cNvPr>
            <p:cNvSpPr/>
            <p:nvPr userDrawn="1"/>
          </p:nvSpPr>
          <p:spPr>
            <a:xfrm>
              <a:off x="8674330" y="-7146"/>
              <a:ext cx="2017489" cy="3172313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  <a:gd name="connsiteX0" fmla="*/ 2009594 w 2009594"/>
                <a:gd name="connsiteY0" fmla="*/ 2383 h 3168216"/>
                <a:gd name="connsiteX1" fmla="*/ 86330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2383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0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11963 w 2011963"/>
                <a:gd name="connsiteY0" fmla="*/ 0 h 3168216"/>
                <a:gd name="connsiteX1" fmla="*/ 863299 w 2011963"/>
                <a:gd name="connsiteY1" fmla="*/ 0 h 3168216"/>
                <a:gd name="connsiteX2" fmla="*/ 0 w 2011963"/>
                <a:gd name="connsiteY2" fmla="*/ 1896185 h 3168216"/>
                <a:gd name="connsiteX3" fmla="*/ 644299 w 2011963"/>
                <a:gd name="connsiteY3" fmla="*/ 3168216 h 3168216"/>
                <a:gd name="connsiteX4" fmla="*/ 2010945 w 2011963"/>
                <a:gd name="connsiteY4" fmla="*/ 3168216 h 3168216"/>
                <a:gd name="connsiteX0" fmla="*/ 2007224 w 2007224"/>
                <a:gd name="connsiteY0" fmla="*/ 0 h 3168216"/>
                <a:gd name="connsiteX1" fmla="*/ 858560 w 2007224"/>
                <a:gd name="connsiteY1" fmla="*/ 0 h 3168216"/>
                <a:gd name="connsiteX2" fmla="*/ 0 w 2007224"/>
                <a:gd name="connsiteY2" fmla="*/ 1898566 h 3168216"/>
                <a:gd name="connsiteX3" fmla="*/ 639560 w 2007224"/>
                <a:gd name="connsiteY3" fmla="*/ 3168216 h 3168216"/>
                <a:gd name="connsiteX4" fmla="*/ 2006206 w 2007224"/>
                <a:gd name="connsiteY4" fmla="*/ 3168216 h 3168216"/>
                <a:gd name="connsiteX0" fmla="*/ 2009593 w 2009593"/>
                <a:gd name="connsiteY0" fmla="*/ 0 h 3168216"/>
                <a:gd name="connsiteX1" fmla="*/ 860929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9593 w 2009593"/>
                <a:gd name="connsiteY0" fmla="*/ 0 h 3168216"/>
                <a:gd name="connsiteX1" fmla="*/ 856191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7223 w 2007223"/>
                <a:gd name="connsiteY0" fmla="*/ 0 h 3168216"/>
                <a:gd name="connsiteX1" fmla="*/ 853821 w 2007223"/>
                <a:gd name="connsiteY1" fmla="*/ 0 h 3168216"/>
                <a:gd name="connsiteX2" fmla="*/ 0 w 2007223"/>
                <a:gd name="connsiteY2" fmla="*/ 1893803 h 3168216"/>
                <a:gd name="connsiteX3" fmla="*/ 639559 w 2007223"/>
                <a:gd name="connsiteY3" fmla="*/ 3168216 h 3168216"/>
                <a:gd name="connsiteX4" fmla="*/ 2006205 w 2007223"/>
                <a:gd name="connsiteY4" fmla="*/ 3168216 h 3168216"/>
                <a:gd name="connsiteX0" fmla="*/ 2007223 w 2007223"/>
                <a:gd name="connsiteY0" fmla="*/ 2383 h 3170599"/>
                <a:gd name="connsiteX1" fmla="*/ 853821 w 2007223"/>
                <a:gd name="connsiteY1" fmla="*/ 0 h 3170599"/>
                <a:gd name="connsiteX2" fmla="*/ 0 w 2007223"/>
                <a:gd name="connsiteY2" fmla="*/ 1896186 h 3170599"/>
                <a:gd name="connsiteX3" fmla="*/ 639559 w 2007223"/>
                <a:gd name="connsiteY3" fmla="*/ 3170599 h 3170599"/>
                <a:gd name="connsiteX4" fmla="*/ 2006205 w 2007223"/>
                <a:gd name="connsiteY4" fmla="*/ 3170599 h 3170599"/>
                <a:gd name="connsiteX0" fmla="*/ 2007223 w 2007223"/>
                <a:gd name="connsiteY0" fmla="*/ 4765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  <a:gd name="connsiteX0" fmla="*/ 2007223 w 2007223"/>
                <a:gd name="connsiteY0" fmla="*/ 2383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223" h="3172981">
                  <a:moveTo>
                    <a:pt x="2007223" y="2383"/>
                  </a:moveTo>
                  <a:lnTo>
                    <a:pt x="856190" y="0"/>
                  </a:lnTo>
                  <a:lnTo>
                    <a:pt x="0" y="1898568"/>
                  </a:lnTo>
                  <a:lnTo>
                    <a:pt x="639559" y="3172981"/>
                  </a:lnTo>
                  <a:lnTo>
                    <a:pt x="2006205" y="3172981"/>
                  </a:lnTo>
                </a:path>
              </a:pathLst>
            </a:custGeom>
            <a:solidFill>
              <a:schemeClr val="bg1"/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Volný tvar 22">
              <a:extLst>
                <a:ext uri="{FF2B5EF4-FFF2-40B4-BE49-F238E27FC236}">
                  <a16:creationId xmlns:a16="http://schemas.microsoft.com/office/drawing/2014/main" id="{C6C3A756-1D66-457D-A6B6-A6EDB50EEFCC}"/>
                </a:ext>
              </a:extLst>
            </p:cNvPr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Volný tvar 24">
              <a:extLst>
                <a:ext uri="{FF2B5EF4-FFF2-40B4-BE49-F238E27FC236}">
                  <a16:creationId xmlns:a16="http://schemas.microsoft.com/office/drawing/2014/main" id="{1F58F446-F6F0-411B-B1C5-A8424F5B937D}"/>
                </a:ext>
              </a:extLst>
            </p:cNvPr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3A2FED84-0F33-4E32-BCEF-519DEF8239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2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9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F6A04910-5CCC-4771-9FF5-D07225E2A02B}"/>
              </a:ext>
            </a:extLst>
          </p:cNvPr>
          <p:cNvSpPr txBox="1"/>
          <p:nvPr userDrawn="1"/>
        </p:nvSpPr>
        <p:spPr>
          <a:xfrm>
            <a:off x="9720000" y="7358802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b="1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17319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Skupina 17">
            <a:extLst>
              <a:ext uri="{FF2B5EF4-FFF2-40B4-BE49-F238E27FC236}">
                <a16:creationId xmlns:a16="http://schemas.microsoft.com/office/drawing/2014/main" id="{C385090F-0589-4B5E-9EA0-B99576D781DA}"/>
              </a:ext>
            </a:extLst>
          </p:cNvPr>
          <p:cNvGrpSpPr/>
          <p:nvPr userDrawn="1"/>
        </p:nvGrpSpPr>
        <p:grpSpPr>
          <a:xfrm>
            <a:off x="-7373" y="-7146"/>
            <a:ext cx="10699366" cy="5875676"/>
            <a:chOff x="-7373" y="-7146"/>
            <a:chExt cx="10699366" cy="5875676"/>
          </a:xfrm>
        </p:grpSpPr>
        <p:sp>
          <p:nvSpPr>
            <p:cNvPr id="23" name="Volný tvar 23">
              <a:extLst>
                <a:ext uri="{FF2B5EF4-FFF2-40B4-BE49-F238E27FC236}">
                  <a16:creationId xmlns:a16="http://schemas.microsoft.com/office/drawing/2014/main" id="{D0809584-3058-4891-BC0C-3D8F14A29427}"/>
                </a:ext>
              </a:extLst>
            </p:cNvPr>
            <p:cNvSpPr/>
            <p:nvPr userDrawn="1"/>
          </p:nvSpPr>
          <p:spPr>
            <a:xfrm>
              <a:off x="2371903" y="-5557"/>
              <a:ext cx="7167730" cy="1895655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9266"/>
                <a:gd name="connsiteY0" fmla="*/ 1887397 h 1887397"/>
                <a:gd name="connsiteX1" fmla="*/ 7159266 w 7159266"/>
                <a:gd name="connsiteY1" fmla="*/ 0 h 1887397"/>
                <a:gd name="connsiteX2" fmla="*/ 0 w 7159266"/>
                <a:gd name="connsiteY2" fmla="*/ 3161 h 1887397"/>
                <a:gd name="connsiteX0" fmla="*/ 6307128 w 7168792"/>
                <a:gd name="connsiteY0" fmla="*/ 1887397 h 1887397"/>
                <a:gd name="connsiteX1" fmla="*/ 7168792 w 7168792"/>
                <a:gd name="connsiteY1" fmla="*/ 0 h 1887397"/>
                <a:gd name="connsiteX2" fmla="*/ 0 w 7168792"/>
                <a:gd name="connsiteY2" fmla="*/ 0 h 188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68792" h="1887397">
                  <a:moveTo>
                    <a:pt x="6307128" y="1887397"/>
                  </a:moveTo>
                  <a:lnTo>
                    <a:pt x="7168792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cs-CZ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Volný tvar 19">
              <a:extLst>
                <a:ext uri="{FF2B5EF4-FFF2-40B4-BE49-F238E27FC236}">
                  <a16:creationId xmlns:a16="http://schemas.microsoft.com/office/drawing/2014/main" id="{13D79C85-3A0D-46FA-A005-0EBA8A4A7F99}"/>
                </a:ext>
              </a:extLst>
            </p:cNvPr>
            <p:cNvSpPr/>
            <p:nvPr userDrawn="1"/>
          </p:nvSpPr>
          <p:spPr>
            <a:xfrm>
              <a:off x="8674330" y="-7146"/>
              <a:ext cx="2017489" cy="3172313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  <a:gd name="connsiteX0" fmla="*/ 2009594 w 2009594"/>
                <a:gd name="connsiteY0" fmla="*/ 2383 h 3168216"/>
                <a:gd name="connsiteX1" fmla="*/ 86330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2383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0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11963 w 2011963"/>
                <a:gd name="connsiteY0" fmla="*/ 0 h 3168216"/>
                <a:gd name="connsiteX1" fmla="*/ 863299 w 2011963"/>
                <a:gd name="connsiteY1" fmla="*/ 0 h 3168216"/>
                <a:gd name="connsiteX2" fmla="*/ 0 w 2011963"/>
                <a:gd name="connsiteY2" fmla="*/ 1896185 h 3168216"/>
                <a:gd name="connsiteX3" fmla="*/ 644299 w 2011963"/>
                <a:gd name="connsiteY3" fmla="*/ 3168216 h 3168216"/>
                <a:gd name="connsiteX4" fmla="*/ 2010945 w 2011963"/>
                <a:gd name="connsiteY4" fmla="*/ 3168216 h 3168216"/>
                <a:gd name="connsiteX0" fmla="*/ 2007224 w 2007224"/>
                <a:gd name="connsiteY0" fmla="*/ 0 h 3168216"/>
                <a:gd name="connsiteX1" fmla="*/ 858560 w 2007224"/>
                <a:gd name="connsiteY1" fmla="*/ 0 h 3168216"/>
                <a:gd name="connsiteX2" fmla="*/ 0 w 2007224"/>
                <a:gd name="connsiteY2" fmla="*/ 1898566 h 3168216"/>
                <a:gd name="connsiteX3" fmla="*/ 639560 w 2007224"/>
                <a:gd name="connsiteY3" fmla="*/ 3168216 h 3168216"/>
                <a:gd name="connsiteX4" fmla="*/ 2006206 w 2007224"/>
                <a:gd name="connsiteY4" fmla="*/ 3168216 h 3168216"/>
                <a:gd name="connsiteX0" fmla="*/ 2009593 w 2009593"/>
                <a:gd name="connsiteY0" fmla="*/ 0 h 3168216"/>
                <a:gd name="connsiteX1" fmla="*/ 860929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9593 w 2009593"/>
                <a:gd name="connsiteY0" fmla="*/ 0 h 3168216"/>
                <a:gd name="connsiteX1" fmla="*/ 856191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7223 w 2007223"/>
                <a:gd name="connsiteY0" fmla="*/ 0 h 3168216"/>
                <a:gd name="connsiteX1" fmla="*/ 853821 w 2007223"/>
                <a:gd name="connsiteY1" fmla="*/ 0 h 3168216"/>
                <a:gd name="connsiteX2" fmla="*/ 0 w 2007223"/>
                <a:gd name="connsiteY2" fmla="*/ 1893803 h 3168216"/>
                <a:gd name="connsiteX3" fmla="*/ 639559 w 2007223"/>
                <a:gd name="connsiteY3" fmla="*/ 3168216 h 3168216"/>
                <a:gd name="connsiteX4" fmla="*/ 2006205 w 2007223"/>
                <a:gd name="connsiteY4" fmla="*/ 3168216 h 3168216"/>
                <a:gd name="connsiteX0" fmla="*/ 2007223 w 2007223"/>
                <a:gd name="connsiteY0" fmla="*/ 2383 h 3170599"/>
                <a:gd name="connsiteX1" fmla="*/ 853821 w 2007223"/>
                <a:gd name="connsiteY1" fmla="*/ 0 h 3170599"/>
                <a:gd name="connsiteX2" fmla="*/ 0 w 2007223"/>
                <a:gd name="connsiteY2" fmla="*/ 1896186 h 3170599"/>
                <a:gd name="connsiteX3" fmla="*/ 639559 w 2007223"/>
                <a:gd name="connsiteY3" fmla="*/ 3170599 h 3170599"/>
                <a:gd name="connsiteX4" fmla="*/ 2006205 w 2007223"/>
                <a:gd name="connsiteY4" fmla="*/ 3170599 h 3170599"/>
                <a:gd name="connsiteX0" fmla="*/ 2007223 w 2007223"/>
                <a:gd name="connsiteY0" fmla="*/ 4765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  <a:gd name="connsiteX0" fmla="*/ 2007223 w 2007223"/>
                <a:gd name="connsiteY0" fmla="*/ 2383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223" h="3172981">
                  <a:moveTo>
                    <a:pt x="2007223" y="2383"/>
                  </a:moveTo>
                  <a:lnTo>
                    <a:pt x="856190" y="0"/>
                  </a:lnTo>
                  <a:lnTo>
                    <a:pt x="0" y="1898568"/>
                  </a:lnTo>
                  <a:lnTo>
                    <a:pt x="639559" y="3172981"/>
                  </a:lnTo>
                  <a:lnTo>
                    <a:pt x="2006205" y="3172981"/>
                  </a:lnTo>
                </a:path>
              </a:pathLst>
            </a:custGeom>
            <a:solidFill>
              <a:schemeClr val="bg1"/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Volný tvar 22">
              <a:extLst>
                <a:ext uri="{FF2B5EF4-FFF2-40B4-BE49-F238E27FC236}">
                  <a16:creationId xmlns:a16="http://schemas.microsoft.com/office/drawing/2014/main" id="{69833BF9-F9CE-4E3F-8510-F710409D91C1}"/>
                </a:ext>
              </a:extLst>
            </p:cNvPr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Volný tvar 24">
              <a:extLst>
                <a:ext uri="{FF2B5EF4-FFF2-40B4-BE49-F238E27FC236}">
                  <a16:creationId xmlns:a16="http://schemas.microsoft.com/office/drawing/2014/main" id="{E0FF662C-166B-4606-9F2A-4362CF7954FF}"/>
                </a:ext>
              </a:extLst>
            </p:cNvPr>
            <p:cNvSpPr/>
            <p:nvPr userDrawn="1"/>
          </p:nvSpPr>
          <p:spPr>
            <a:xfrm>
              <a:off x="-7373" y="-6667"/>
              <a:ext cx="8689012" cy="4440694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  <a:gd name="connsiteX0" fmla="*/ 8674844 w 8674844"/>
                <a:gd name="connsiteY0" fmla="*/ 1891102 h 4439245"/>
                <a:gd name="connsiteX1" fmla="*/ 2373282 w 8674844"/>
                <a:gd name="connsiteY1" fmla="*/ 0 h 4439245"/>
                <a:gd name="connsiteX2" fmla="*/ 0 w 8674844"/>
                <a:gd name="connsiteY2" fmla="*/ 1905 h 4439245"/>
                <a:gd name="connsiteX3" fmla="*/ 0 w 8674844"/>
                <a:gd name="connsiteY3" fmla="*/ 4439245 h 4439245"/>
                <a:gd name="connsiteX0" fmla="*/ 8674844 w 8674844"/>
                <a:gd name="connsiteY0" fmla="*/ 1891102 h 4439245"/>
                <a:gd name="connsiteX1" fmla="*/ 2382799 w 8674844"/>
                <a:gd name="connsiteY1" fmla="*/ 0 h 4439245"/>
                <a:gd name="connsiteX2" fmla="*/ 0 w 8674844"/>
                <a:gd name="connsiteY2" fmla="*/ 1905 h 4439245"/>
                <a:gd name="connsiteX3" fmla="*/ 0 w 8674844"/>
                <a:gd name="connsiteY3" fmla="*/ 4439245 h 4439245"/>
                <a:gd name="connsiteX0" fmla="*/ 8677223 w 8677223"/>
                <a:gd name="connsiteY0" fmla="*/ 1891102 h 4439245"/>
                <a:gd name="connsiteX1" fmla="*/ 2385178 w 8677223"/>
                <a:gd name="connsiteY1" fmla="*/ 0 h 4439245"/>
                <a:gd name="connsiteX2" fmla="*/ 0 w 8677223"/>
                <a:gd name="connsiteY2" fmla="*/ 1905 h 4439245"/>
                <a:gd name="connsiteX3" fmla="*/ 2379 w 8677223"/>
                <a:gd name="connsiteY3" fmla="*/ 4439245 h 4439245"/>
                <a:gd name="connsiteX0" fmla="*/ 8677223 w 8677223"/>
                <a:gd name="connsiteY0" fmla="*/ 1891102 h 4439245"/>
                <a:gd name="connsiteX1" fmla="*/ 2385178 w 8677223"/>
                <a:gd name="connsiteY1" fmla="*/ 0 h 4439245"/>
                <a:gd name="connsiteX2" fmla="*/ 0 w 8677223"/>
                <a:gd name="connsiteY2" fmla="*/ 1905 h 4439245"/>
                <a:gd name="connsiteX3" fmla="*/ 0 w 8677223"/>
                <a:gd name="connsiteY3" fmla="*/ 4439245 h 4439245"/>
                <a:gd name="connsiteX0" fmla="*/ 8679603 w 8679603"/>
                <a:gd name="connsiteY0" fmla="*/ 1891102 h 4439245"/>
                <a:gd name="connsiteX1" fmla="*/ 2387558 w 8679603"/>
                <a:gd name="connsiteY1" fmla="*/ 0 h 4439245"/>
                <a:gd name="connsiteX2" fmla="*/ 2380 w 8679603"/>
                <a:gd name="connsiteY2" fmla="*/ 1905 h 4439245"/>
                <a:gd name="connsiteX3" fmla="*/ 0 w 8679603"/>
                <a:gd name="connsiteY3" fmla="*/ 4439245 h 4439245"/>
                <a:gd name="connsiteX0" fmla="*/ 8679831 w 8679831"/>
                <a:gd name="connsiteY0" fmla="*/ 1891102 h 4439245"/>
                <a:gd name="connsiteX1" fmla="*/ 2387786 w 8679831"/>
                <a:gd name="connsiteY1" fmla="*/ 0 h 4439245"/>
                <a:gd name="connsiteX2" fmla="*/ 229 w 8679831"/>
                <a:gd name="connsiteY2" fmla="*/ 1905 h 4439245"/>
                <a:gd name="connsiteX3" fmla="*/ 228 w 8679831"/>
                <a:gd name="connsiteY3" fmla="*/ 4439245 h 4439245"/>
                <a:gd name="connsiteX0" fmla="*/ 8679831 w 8679831"/>
                <a:gd name="connsiteY0" fmla="*/ 1891578 h 4439721"/>
                <a:gd name="connsiteX1" fmla="*/ 2387786 w 8679831"/>
                <a:gd name="connsiteY1" fmla="*/ 476 h 4439721"/>
                <a:gd name="connsiteX2" fmla="*/ 229 w 8679831"/>
                <a:gd name="connsiteY2" fmla="*/ 0 h 4439721"/>
                <a:gd name="connsiteX3" fmla="*/ 228 w 8679831"/>
                <a:gd name="connsiteY3" fmla="*/ 4439721 h 4439721"/>
                <a:gd name="connsiteX0" fmla="*/ 8679831 w 8679831"/>
                <a:gd name="connsiteY0" fmla="*/ 1893483 h 4441626"/>
                <a:gd name="connsiteX1" fmla="*/ 2385406 w 8679831"/>
                <a:gd name="connsiteY1" fmla="*/ 0 h 4441626"/>
                <a:gd name="connsiteX2" fmla="*/ 229 w 8679831"/>
                <a:gd name="connsiteY2" fmla="*/ 1905 h 4441626"/>
                <a:gd name="connsiteX3" fmla="*/ 228 w 8679831"/>
                <a:gd name="connsiteY3" fmla="*/ 4441626 h 4441626"/>
                <a:gd name="connsiteX0" fmla="*/ 8679831 w 8679831"/>
                <a:gd name="connsiteY0" fmla="*/ 1893483 h 4441626"/>
                <a:gd name="connsiteX1" fmla="*/ 2383027 w 8679831"/>
                <a:gd name="connsiteY1" fmla="*/ 0 h 4441626"/>
                <a:gd name="connsiteX2" fmla="*/ 229 w 8679831"/>
                <a:gd name="connsiteY2" fmla="*/ 1905 h 4441626"/>
                <a:gd name="connsiteX3" fmla="*/ 228 w 8679831"/>
                <a:gd name="connsiteY3" fmla="*/ 4441626 h 4441626"/>
                <a:gd name="connsiteX0" fmla="*/ 8682086 w 8682086"/>
                <a:gd name="connsiteY0" fmla="*/ 1893483 h 4441626"/>
                <a:gd name="connsiteX1" fmla="*/ 2385282 w 8682086"/>
                <a:gd name="connsiteY1" fmla="*/ 0 h 4441626"/>
                <a:gd name="connsiteX2" fmla="*/ 105 w 8682086"/>
                <a:gd name="connsiteY2" fmla="*/ 1905 h 4441626"/>
                <a:gd name="connsiteX3" fmla="*/ 2483 w 8682086"/>
                <a:gd name="connsiteY3" fmla="*/ 4441626 h 4441626"/>
                <a:gd name="connsiteX0" fmla="*/ 8682210 w 8682210"/>
                <a:gd name="connsiteY0" fmla="*/ 1893483 h 4441626"/>
                <a:gd name="connsiteX1" fmla="*/ 2385406 w 8682210"/>
                <a:gd name="connsiteY1" fmla="*/ 0 h 4441626"/>
                <a:gd name="connsiteX2" fmla="*/ 229 w 8682210"/>
                <a:gd name="connsiteY2" fmla="*/ 1905 h 4441626"/>
                <a:gd name="connsiteX3" fmla="*/ 228 w 8682210"/>
                <a:gd name="connsiteY3" fmla="*/ 4441626 h 4441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82210" h="4441626">
                  <a:moveTo>
                    <a:pt x="8682210" y="1893483"/>
                  </a:moveTo>
                  <a:lnTo>
                    <a:pt x="2385406" y="0"/>
                  </a:lnTo>
                  <a:lnTo>
                    <a:pt x="229" y="1905"/>
                  </a:lnTo>
                  <a:cubicBezTo>
                    <a:pt x="-564" y="1481018"/>
                    <a:pt x="1021" y="2962513"/>
                    <a:pt x="228" y="4441626"/>
                  </a:cubicBez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89D022B2-D437-46B9-BE86-BF823D6F432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5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9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FDE563E4-0D6E-43F1-9CEF-6D8377F96AA6}"/>
              </a:ext>
            </a:extLst>
          </p:cNvPr>
          <p:cNvSpPr txBox="1"/>
          <p:nvPr userDrawn="1"/>
        </p:nvSpPr>
        <p:spPr>
          <a:xfrm>
            <a:off x="9720000" y="7358802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b="1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5490593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0530865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487494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688179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8652397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7520210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655594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332"/>
            <a:ext cx="4823696" cy="22313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332"/>
            <a:ext cx="4823696" cy="22313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796817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4708262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2787003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Skupina 17">
            <a:extLst>
              <a:ext uri="{FF2B5EF4-FFF2-40B4-BE49-F238E27FC236}">
                <a16:creationId xmlns:a16="http://schemas.microsoft.com/office/drawing/2014/main" id="{6902DA5B-8A45-4688-BE1A-79C1AFE349F8}"/>
              </a:ext>
            </a:extLst>
          </p:cNvPr>
          <p:cNvGrpSpPr/>
          <p:nvPr userDrawn="1"/>
        </p:nvGrpSpPr>
        <p:grpSpPr>
          <a:xfrm>
            <a:off x="-1" y="-7146"/>
            <a:ext cx="10691994" cy="5875676"/>
            <a:chOff x="-1" y="-7146"/>
            <a:chExt cx="10691994" cy="5875676"/>
          </a:xfrm>
        </p:grpSpPr>
        <p:sp>
          <p:nvSpPr>
            <p:cNvPr id="23" name="Volný tvar 23">
              <a:extLst>
                <a:ext uri="{FF2B5EF4-FFF2-40B4-BE49-F238E27FC236}">
                  <a16:creationId xmlns:a16="http://schemas.microsoft.com/office/drawing/2014/main" id="{0CF92722-1732-4B78-BC8E-80824CE4137E}"/>
                </a:ext>
              </a:extLst>
            </p:cNvPr>
            <p:cNvSpPr/>
            <p:nvPr userDrawn="1"/>
          </p:nvSpPr>
          <p:spPr>
            <a:xfrm>
              <a:off x="2381428" y="0"/>
              <a:ext cx="7155030" cy="1892480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56091" h="1884236">
                  <a:moveTo>
                    <a:pt x="6297602" y="1884236"/>
                  </a:moveTo>
                  <a:lnTo>
                    <a:pt x="7156091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70000"/>
              </a:schemeClr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Volný tvar 19">
              <a:extLst>
                <a:ext uri="{FF2B5EF4-FFF2-40B4-BE49-F238E27FC236}">
                  <a16:creationId xmlns:a16="http://schemas.microsoft.com/office/drawing/2014/main" id="{9B2BAED7-425C-4D16-BE95-2AC8EA8A0A5A}"/>
                </a:ext>
              </a:extLst>
            </p:cNvPr>
            <p:cNvSpPr/>
            <p:nvPr userDrawn="1"/>
          </p:nvSpPr>
          <p:spPr>
            <a:xfrm>
              <a:off x="8674330" y="-7146"/>
              <a:ext cx="2017489" cy="3172313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  <a:gd name="connsiteX0" fmla="*/ 2009594 w 2009594"/>
                <a:gd name="connsiteY0" fmla="*/ 2383 h 3168216"/>
                <a:gd name="connsiteX1" fmla="*/ 86330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2383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0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11963 w 2011963"/>
                <a:gd name="connsiteY0" fmla="*/ 0 h 3168216"/>
                <a:gd name="connsiteX1" fmla="*/ 863299 w 2011963"/>
                <a:gd name="connsiteY1" fmla="*/ 0 h 3168216"/>
                <a:gd name="connsiteX2" fmla="*/ 0 w 2011963"/>
                <a:gd name="connsiteY2" fmla="*/ 1896185 h 3168216"/>
                <a:gd name="connsiteX3" fmla="*/ 644299 w 2011963"/>
                <a:gd name="connsiteY3" fmla="*/ 3168216 h 3168216"/>
                <a:gd name="connsiteX4" fmla="*/ 2010945 w 2011963"/>
                <a:gd name="connsiteY4" fmla="*/ 3168216 h 3168216"/>
                <a:gd name="connsiteX0" fmla="*/ 2007224 w 2007224"/>
                <a:gd name="connsiteY0" fmla="*/ 0 h 3168216"/>
                <a:gd name="connsiteX1" fmla="*/ 858560 w 2007224"/>
                <a:gd name="connsiteY1" fmla="*/ 0 h 3168216"/>
                <a:gd name="connsiteX2" fmla="*/ 0 w 2007224"/>
                <a:gd name="connsiteY2" fmla="*/ 1898566 h 3168216"/>
                <a:gd name="connsiteX3" fmla="*/ 639560 w 2007224"/>
                <a:gd name="connsiteY3" fmla="*/ 3168216 h 3168216"/>
                <a:gd name="connsiteX4" fmla="*/ 2006206 w 2007224"/>
                <a:gd name="connsiteY4" fmla="*/ 3168216 h 3168216"/>
                <a:gd name="connsiteX0" fmla="*/ 2009593 w 2009593"/>
                <a:gd name="connsiteY0" fmla="*/ 0 h 3168216"/>
                <a:gd name="connsiteX1" fmla="*/ 860929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9593 w 2009593"/>
                <a:gd name="connsiteY0" fmla="*/ 0 h 3168216"/>
                <a:gd name="connsiteX1" fmla="*/ 856191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7223 w 2007223"/>
                <a:gd name="connsiteY0" fmla="*/ 0 h 3168216"/>
                <a:gd name="connsiteX1" fmla="*/ 853821 w 2007223"/>
                <a:gd name="connsiteY1" fmla="*/ 0 h 3168216"/>
                <a:gd name="connsiteX2" fmla="*/ 0 w 2007223"/>
                <a:gd name="connsiteY2" fmla="*/ 1893803 h 3168216"/>
                <a:gd name="connsiteX3" fmla="*/ 639559 w 2007223"/>
                <a:gd name="connsiteY3" fmla="*/ 3168216 h 3168216"/>
                <a:gd name="connsiteX4" fmla="*/ 2006205 w 2007223"/>
                <a:gd name="connsiteY4" fmla="*/ 3168216 h 3168216"/>
                <a:gd name="connsiteX0" fmla="*/ 2007223 w 2007223"/>
                <a:gd name="connsiteY0" fmla="*/ 2383 h 3170599"/>
                <a:gd name="connsiteX1" fmla="*/ 853821 w 2007223"/>
                <a:gd name="connsiteY1" fmla="*/ 0 h 3170599"/>
                <a:gd name="connsiteX2" fmla="*/ 0 w 2007223"/>
                <a:gd name="connsiteY2" fmla="*/ 1896186 h 3170599"/>
                <a:gd name="connsiteX3" fmla="*/ 639559 w 2007223"/>
                <a:gd name="connsiteY3" fmla="*/ 3170599 h 3170599"/>
                <a:gd name="connsiteX4" fmla="*/ 2006205 w 2007223"/>
                <a:gd name="connsiteY4" fmla="*/ 3170599 h 3170599"/>
                <a:gd name="connsiteX0" fmla="*/ 2007223 w 2007223"/>
                <a:gd name="connsiteY0" fmla="*/ 4765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  <a:gd name="connsiteX0" fmla="*/ 2007223 w 2007223"/>
                <a:gd name="connsiteY0" fmla="*/ 2383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223" h="3172981">
                  <a:moveTo>
                    <a:pt x="2007223" y="2383"/>
                  </a:moveTo>
                  <a:lnTo>
                    <a:pt x="856190" y="0"/>
                  </a:lnTo>
                  <a:lnTo>
                    <a:pt x="0" y="1898568"/>
                  </a:lnTo>
                  <a:lnTo>
                    <a:pt x="639559" y="3172981"/>
                  </a:lnTo>
                  <a:lnTo>
                    <a:pt x="2006205" y="3172981"/>
                  </a:lnTo>
                </a:path>
              </a:pathLst>
            </a:custGeom>
            <a:solidFill>
              <a:schemeClr val="bg1"/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Volný tvar 22">
              <a:extLst>
                <a:ext uri="{FF2B5EF4-FFF2-40B4-BE49-F238E27FC236}">
                  <a16:creationId xmlns:a16="http://schemas.microsoft.com/office/drawing/2014/main" id="{C1302042-B2D2-4739-B2ED-78100DD01258}"/>
                </a:ext>
              </a:extLst>
            </p:cNvPr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Volný tvar 24">
              <a:extLst>
                <a:ext uri="{FF2B5EF4-FFF2-40B4-BE49-F238E27FC236}">
                  <a16:creationId xmlns:a16="http://schemas.microsoft.com/office/drawing/2014/main" id="{28594B1E-2160-4BCC-A6D3-85CED2F8CA76}"/>
                </a:ext>
              </a:extLst>
            </p:cNvPr>
            <p:cNvSpPr/>
            <p:nvPr userDrawn="1"/>
          </p:nvSpPr>
          <p:spPr>
            <a:xfrm>
              <a:off x="-1" y="-1905"/>
              <a:ext cx="8678465" cy="4438313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71671" h="4439245">
                  <a:moveTo>
                    <a:pt x="8671671" y="1894278"/>
                  </a:moveTo>
                  <a:lnTo>
                    <a:pt x="2373282" y="0"/>
                  </a:lnTo>
                  <a:lnTo>
                    <a:pt x="0" y="1905"/>
                  </a:lnTo>
                  <a:lnTo>
                    <a:pt x="0" y="4439245"/>
                  </a:lnTo>
                </a:path>
              </a:pathLst>
            </a:custGeom>
            <a:solidFill>
              <a:schemeClr val="tx1">
                <a:lumMod val="50000"/>
                <a:lumOff val="50000"/>
                <a:alpha val="40000"/>
              </a:schemeClr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FFB3D8D8-2B9A-4F1E-9382-4BE9F343E47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0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9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C2C504A-B4FC-4834-838D-AE09A3C9C835}"/>
              </a:ext>
            </a:extLst>
          </p:cNvPr>
          <p:cNvSpPr txBox="1"/>
          <p:nvPr userDrawn="1"/>
        </p:nvSpPr>
        <p:spPr>
          <a:xfrm>
            <a:off x="9720000" y="7358802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b="1" noProof="0" dirty="0">
                <a:effectLst>
                  <a:glow rad="254000">
                    <a:schemeClr val="bg1">
                      <a:alpha val="34000"/>
                    </a:schemeClr>
                  </a:glow>
                </a:effectLst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289696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Skupina 17">
            <a:extLst>
              <a:ext uri="{FF2B5EF4-FFF2-40B4-BE49-F238E27FC236}">
                <a16:creationId xmlns:a16="http://schemas.microsoft.com/office/drawing/2014/main" id="{E709AAA5-919B-477C-9257-2CC13BFB611B}"/>
              </a:ext>
            </a:extLst>
          </p:cNvPr>
          <p:cNvGrpSpPr/>
          <p:nvPr userDrawn="1"/>
        </p:nvGrpSpPr>
        <p:grpSpPr>
          <a:xfrm>
            <a:off x="-7373" y="-7146"/>
            <a:ext cx="10699366" cy="5875676"/>
            <a:chOff x="-7373" y="-7146"/>
            <a:chExt cx="10699366" cy="5875676"/>
          </a:xfrm>
        </p:grpSpPr>
        <p:sp>
          <p:nvSpPr>
            <p:cNvPr id="23" name="Volný tvar 23">
              <a:extLst>
                <a:ext uri="{FF2B5EF4-FFF2-40B4-BE49-F238E27FC236}">
                  <a16:creationId xmlns:a16="http://schemas.microsoft.com/office/drawing/2014/main" id="{B00C6110-768B-40B6-870E-1DD5C8A3CF70}"/>
                </a:ext>
              </a:extLst>
            </p:cNvPr>
            <p:cNvSpPr/>
            <p:nvPr userDrawn="1"/>
          </p:nvSpPr>
          <p:spPr>
            <a:xfrm>
              <a:off x="2371903" y="-5557"/>
              <a:ext cx="7167730" cy="1895655"/>
            </a:xfrm>
            <a:custGeom>
              <a:avLst/>
              <a:gdLst>
                <a:gd name="connsiteX0" fmla="*/ 744220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438390 w 8144934"/>
                <a:gd name="connsiteY0" fmla="*/ 1540934 h 1540934"/>
                <a:gd name="connsiteX1" fmla="*/ 8144934 w 8144934"/>
                <a:gd name="connsiteY1" fmla="*/ 0 h 1540934"/>
                <a:gd name="connsiteX2" fmla="*/ 0 w 8144934"/>
                <a:gd name="connsiteY2" fmla="*/ 0 h 1540934"/>
                <a:gd name="connsiteX0" fmla="*/ 7032565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8144934"/>
                <a:gd name="connsiteY0" fmla="*/ 1882340 h 1882340"/>
                <a:gd name="connsiteX1" fmla="*/ 8144934 w 8144934"/>
                <a:gd name="connsiteY1" fmla="*/ 0 h 1882340"/>
                <a:gd name="connsiteX2" fmla="*/ 0 w 8144934"/>
                <a:gd name="connsiteY2" fmla="*/ 0 h 1882340"/>
                <a:gd name="connsiteX0" fmla="*/ 7030660 w 7895342"/>
                <a:gd name="connsiteY0" fmla="*/ 1882340 h 1882340"/>
                <a:gd name="connsiteX1" fmla="*/ 7895342 w 7895342"/>
                <a:gd name="connsiteY1" fmla="*/ 0 h 1882340"/>
                <a:gd name="connsiteX2" fmla="*/ 0 w 7895342"/>
                <a:gd name="connsiteY2" fmla="*/ 0 h 1882340"/>
                <a:gd name="connsiteX0" fmla="*/ 6272357 w 7137039"/>
                <a:gd name="connsiteY0" fmla="*/ 1884237 h 1884237"/>
                <a:gd name="connsiteX1" fmla="*/ 7137039 w 7137039"/>
                <a:gd name="connsiteY1" fmla="*/ 1897 h 1884237"/>
                <a:gd name="connsiteX2" fmla="*/ 0 w 7137039"/>
                <a:gd name="connsiteY2" fmla="*/ 0 h 1884237"/>
                <a:gd name="connsiteX0" fmla="*/ 6276168 w 7137039"/>
                <a:gd name="connsiteY0" fmla="*/ 1882340 h 1882340"/>
                <a:gd name="connsiteX1" fmla="*/ 7137039 w 7137039"/>
                <a:gd name="connsiteY1" fmla="*/ 1897 h 1882340"/>
                <a:gd name="connsiteX2" fmla="*/ 0 w 7137039"/>
                <a:gd name="connsiteY2" fmla="*/ 0 h 1882340"/>
                <a:gd name="connsiteX0" fmla="*/ 6276168 w 7137039"/>
                <a:gd name="connsiteY0" fmla="*/ 1886133 h 1886133"/>
                <a:gd name="connsiteX1" fmla="*/ 7137039 w 7137039"/>
                <a:gd name="connsiteY1" fmla="*/ 1897 h 1886133"/>
                <a:gd name="connsiteX2" fmla="*/ 0 w 7137039"/>
                <a:gd name="connsiteY2" fmla="*/ 0 h 1886133"/>
                <a:gd name="connsiteX0" fmla="*/ 6291410 w 7152281"/>
                <a:gd name="connsiteY0" fmla="*/ 1884236 h 1884236"/>
                <a:gd name="connsiteX1" fmla="*/ 7152281 w 7152281"/>
                <a:gd name="connsiteY1" fmla="*/ 0 h 1884236"/>
                <a:gd name="connsiteX2" fmla="*/ 0 w 7152281"/>
                <a:gd name="connsiteY2" fmla="*/ 0 h 1884236"/>
                <a:gd name="connsiteX0" fmla="*/ 6293315 w 7154186"/>
                <a:gd name="connsiteY0" fmla="*/ 1884236 h 1884236"/>
                <a:gd name="connsiteX1" fmla="*/ 7154186 w 7154186"/>
                <a:gd name="connsiteY1" fmla="*/ 0 h 1884236"/>
                <a:gd name="connsiteX2" fmla="*/ 0 w 7154186"/>
                <a:gd name="connsiteY2" fmla="*/ 0 h 1884236"/>
                <a:gd name="connsiteX0" fmla="*/ 6295220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6091"/>
                <a:gd name="connsiteY0" fmla="*/ 1884236 h 1884236"/>
                <a:gd name="connsiteX1" fmla="*/ 7156091 w 7156091"/>
                <a:gd name="connsiteY1" fmla="*/ 0 h 1884236"/>
                <a:gd name="connsiteX2" fmla="*/ 0 w 7156091"/>
                <a:gd name="connsiteY2" fmla="*/ 0 h 1884236"/>
                <a:gd name="connsiteX0" fmla="*/ 6297602 w 7159266"/>
                <a:gd name="connsiteY0" fmla="*/ 1887397 h 1887397"/>
                <a:gd name="connsiteX1" fmla="*/ 7159266 w 7159266"/>
                <a:gd name="connsiteY1" fmla="*/ 0 h 1887397"/>
                <a:gd name="connsiteX2" fmla="*/ 0 w 7159266"/>
                <a:gd name="connsiteY2" fmla="*/ 3161 h 1887397"/>
                <a:gd name="connsiteX0" fmla="*/ 6307128 w 7168792"/>
                <a:gd name="connsiteY0" fmla="*/ 1887397 h 1887397"/>
                <a:gd name="connsiteX1" fmla="*/ 7168792 w 7168792"/>
                <a:gd name="connsiteY1" fmla="*/ 0 h 1887397"/>
                <a:gd name="connsiteX2" fmla="*/ 0 w 7168792"/>
                <a:gd name="connsiteY2" fmla="*/ 0 h 1887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68792" h="1887397">
                  <a:moveTo>
                    <a:pt x="6307128" y="1887397"/>
                  </a:moveTo>
                  <a:lnTo>
                    <a:pt x="7168792" y="0"/>
                  </a:lnTo>
                  <a:lnTo>
                    <a:pt x="0" y="0"/>
                  </a:lnTo>
                </a:path>
              </a:pathLst>
            </a:custGeom>
            <a:solidFill>
              <a:schemeClr val="bg1">
                <a:lumMod val="95000"/>
                <a:alpha val="70000"/>
              </a:schemeClr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cs-CZ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Volný tvar 19">
              <a:extLst>
                <a:ext uri="{FF2B5EF4-FFF2-40B4-BE49-F238E27FC236}">
                  <a16:creationId xmlns:a16="http://schemas.microsoft.com/office/drawing/2014/main" id="{552F6CC4-7E8B-4FF6-A77C-2090EC1AA5BC}"/>
                </a:ext>
              </a:extLst>
            </p:cNvPr>
            <p:cNvSpPr/>
            <p:nvPr userDrawn="1"/>
          </p:nvSpPr>
          <p:spPr>
            <a:xfrm>
              <a:off x="8674330" y="-7146"/>
              <a:ext cx="2017489" cy="3172313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  <a:gd name="connsiteX0" fmla="*/ 2009594 w 2009594"/>
                <a:gd name="connsiteY0" fmla="*/ 2383 h 3168216"/>
                <a:gd name="connsiteX1" fmla="*/ 86330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2383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0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11963 w 2011963"/>
                <a:gd name="connsiteY0" fmla="*/ 0 h 3168216"/>
                <a:gd name="connsiteX1" fmla="*/ 863299 w 2011963"/>
                <a:gd name="connsiteY1" fmla="*/ 0 h 3168216"/>
                <a:gd name="connsiteX2" fmla="*/ 0 w 2011963"/>
                <a:gd name="connsiteY2" fmla="*/ 1896185 h 3168216"/>
                <a:gd name="connsiteX3" fmla="*/ 644299 w 2011963"/>
                <a:gd name="connsiteY3" fmla="*/ 3168216 h 3168216"/>
                <a:gd name="connsiteX4" fmla="*/ 2010945 w 2011963"/>
                <a:gd name="connsiteY4" fmla="*/ 3168216 h 3168216"/>
                <a:gd name="connsiteX0" fmla="*/ 2007224 w 2007224"/>
                <a:gd name="connsiteY0" fmla="*/ 0 h 3168216"/>
                <a:gd name="connsiteX1" fmla="*/ 858560 w 2007224"/>
                <a:gd name="connsiteY1" fmla="*/ 0 h 3168216"/>
                <a:gd name="connsiteX2" fmla="*/ 0 w 2007224"/>
                <a:gd name="connsiteY2" fmla="*/ 1898566 h 3168216"/>
                <a:gd name="connsiteX3" fmla="*/ 639560 w 2007224"/>
                <a:gd name="connsiteY3" fmla="*/ 3168216 h 3168216"/>
                <a:gd name="connsiteX4" fmla="*/ 2006206 w 2007224"/>
                <a:gd name="connsiteY4" fmla="*/ 3168216 h 3168216"/>
                <a:gd name="connsiteX0" fmla="*/ 2009593 w 2009593"/>
                <a:gd name="connsiteY0" fmla="*/ 0 h 3168216"/>
                <a:gd name="connsiteX1" fmla="*/ 860929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9593 w 2009593"/>
                <a:gd name="connsiteY0" fmla="*/ 0 h 3168216"/>
                <a:gd name="connsiteX1" fmla="*/ 856191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7223 w 2007223"/>
                <a:gd name="connsiteY0" fmla="*/ 0 h 3168216"/>
                <a:gd name="connsiteX1" fmla="*/ 853821 w 2007223"/>
                <a:gd name="connsiteY1" fmla="*/ 0 h 3168216"/>
                <a:gd name="connsiteX2" fmla="*/ 0 w 2007223"/>
                <a:gd name="connsiteY2" fmla="*/ 1893803 h 3168216"/>
                <a:gd name="connsiteX3" fmla="*/ 639559 w 2007223"/>
                <a:gd name="connsiteY3" fmla="*/ 3168216 h 3168216"/>
                <a:gd name="connsiteX4" fmla="*/ 2006205 w 2007223"/>
                <a:gd name="connsiteY4" fmla="*/ 3168216 h 3168216"/>
                <a:gd name="connsiteX0" fmla="*/ 2007223 w 2007223"/>
                <a:gd name="connsiteY0" fmla="*/ 2383 h 3170599"/>
                <a:gd name="connsiteX1" fmla="*/ 853821 w 2007223"/>
                <a:gd name="connsiteY1" fmla="*/ 0 h 3170599"/>
                <a:gd name="connsiteX2" fmla="*/ 0 w 2007223"/>
                <a:gd name="connsiteY2" fmla="*/ 1896186 h 3170599"/>
                <a:gd name="connsiteX3" fmla="*/ 639559 w 2007223"/>
                <a:gd name="connsiteY3" fmla="*/ 3170599 h 3170599"/>
                <a:gd name="connsiteX4" fmla="*/ 2006205 w 2007223"/>
                <a:gd name="connsiteY4" fmla="*/ 3170599 h 3170599"/>
                <a:gd name="connsiteX0" fmla="*/ 2007223 w 2007223"/>
                <a:gd name="connsiteY0" fmla="*/ 4765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  <a:gd name="connsiteX0" fmla="*/ 2007223 w 2007223"/>
                <a:gd name="connsiteY0" fmla="*/ 2383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223" h="3172981">
                  <a:moveTo>
                    <a:pt x="2007223" y="2383"/>
                  </a:moveTo>
                  <a:lnTo>
                    <a:pt x="856190" y="0"/>
                  </a:lnTo>
                  <a:lnTo>
                    <a:pt x="0" y="1898568"/>
                  </a:lnTo>
                  <a:lnTo>
                    <a:pt x="639559" y="3172981"/>
                  </a:lnTo>
                  <a:lnTo>
                    <a:pt x="2006205" y="3172981"/>
                  </a:lnTo>
                </a:path>
              </a:pathLst>
            </a:custGeom>
            <a:solidFill>
              <a:schemeClr val="bg1"/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Volný tvar 22">
              <a:extLst>
                <a:ext uri="{FF2B5EF4-FFF2-40B4-BE49-F238E27FC236}">
                  <a16:creationId xmlns:a16="http://schemas.microsoft.com/office/drawing/2014/main" id="{4296227A-176F-4E1F-8D78-FCA12A00B651}"/>
                </a:ext>
              </a:extLst>
            </p:cNvPr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Volný tvar 24">
              <a:extLst>
                <a:ext uri="{FF2B5EF4-FFF2-40B4-BE49-F238E27FC236}">
                  <a16:creationId xmlns:a16="http://schemas.microsoft.com/office/drawing/2014/main" id="{DF8EC2E8-5FE5-4909-B20B-93BBA9753C8A}"/>
                </a:ext>
              </a:extLst>
            </p:cNvPr>
            <p:cNvSpPr/>
            <p:nvPr userDrawn="1"/>
          </p:nvSpPr>
          <p:spPr>
            <a:xfrm>
              <a:off x="-7373" y="-6667"/>
              <a:ext cx="8689012" cy="4440694"/>
            </a:xfrm>
            <a:custGeom>
              <a:avLst/>
              <a:gdLst>
                <a:gd name="connsiteX0" fmla="*/ 9084733 w 9084733"/>
                <a:gd name="connsiteY0" fmla="*/ 1549400 h 3623734"/>
                <a:gd name="connsiteX1" fmla="*/ 1659466 w 9084733"/>
                <a:gd name="connsiteY1" fmla="*/ 0 h 3623734"/>
                <a:gd name="connsiteX2" fmla="*/ 0 w 9084733"/>
                <a:gd name="connsiteY2" fmla="*/ 0 h 3623734"/>
                <a:gd name="connsiteX3" fmla="*/ 0 w 9084733"/>
                <a:gd name="connsiteY3" fmla="*/ 3623734 h 3623734"/>
                <a:gd name="connsiteX0" fmla="*/ 9071408 w 9071408"/>
                <a:gd name="connsiteY0" fmla="*/ 1547495 h 3623734"/>
                <a:gd name="connsiteX1" fmla="*/ 1659466 w 9071408"/>
                <a:gd name="connsiteY1" fmla="*/ 0 h 3623734"/>
                <a:gd name="connsiteX2" fmla="*/ 0 w 9071408"/>
                <a:gd name="connsiteY2" fmla="*/ 0 h 3623734"/>
                <a:gd name="connsiteX3" fmla="*/ 0 w 9071408"/>
                <a:gd name="connsiteY3" fmla="*/ 3623734 h 3623734"/>
                <a:gd name="connsiteX0" fmla="*/ 9073312 w 9073312"/>
                <a:gd name="connsiteY0" fmla="*/ 1547495 h 4437340"/>
                <a:gd name="connsiteX1" fmla="*/ 1661370 w 9073312"/>
                <a:gd name="connsiteY1" fmla="*/ 0 h 4437340"/>
                <a:gd name="connsiteX2" fmla="*/ 1904 w 9073312"/>
                <a:gd name="connsiteY2" fmla="*/ 0 h 4437340"/>
                <a:gd name="connsiteX3" fmla="*/ 0 w 9073312"/>
                <a:gd name="connsiteY3" fmla="*/ 4437340 h 4437340"/>
                <a:gd name="connsiteX0" fmla="*/ 9071408 w 9071408"/>
                <a:gd name="connsiteY0" fmla="*/ 1547495 h 4437340"/>
                <a:gd name="connsiteX1" fmla="*/ 1659466 w 9071408"/>
                <a:gd name="connsiteY1" fmla="*/ 0 h 4437340"/>
                <a:gd name="connsiteX2" fmla="*/ 0 w 9071408"/>
                <a:gd name="connsiteY2" fmla="*/ 0 h 4437340"/>
                <a:gd name="connsiteX3" fmla="*/ 0 w 9071408"/>
                <a:gd name="connsiteY3" fmla="*/ 4437340 h 4437340"/>
                <a:gd name="connsiteX0" fmla="*/ 8667864 w 8667864"/>
                <a:gd name="connsiteY0" fmla="*/ 1894278 h 4437340"/>
                <a:gd name="connsiteX1" fmla="*/ 1659466 w 8667864"/>
                <a:gd name="connsiteY1" fmla="*/ 0 h 4437340"/>
                <a:gd name="connsiteX2" fmla="*/ 0 w 8667864"/>
                <a:gd name="connsiteY2" fmla="*/ 0 h 4437340"/>
                <a:gd name="connsiteX3" fmla="*/ 0 w 8667864"/>
                <a:gd name="connsiteY3" fmla="*/ 4437340 h 4437340"/>
                <a:gd name="connsiteX0" fmla="*/ 8667864 w 8667864"/>
                <a:gd name="connsiteY0" fmla="*/ 1896183 h 4439245"/>
                <a:gd name="connsiteX1" fmla="*/ 2373282 w 8667864"/>
                <a:gd name="connsiteY1" fmla="*/ 0 h 4439245"/>
                <a:gd name="connsiteX2" fmla="*/ 0 w 8667864"/>
                <a:gd name="connsiteY2" fmla="*/ 1905 h 4439245"/>
                <a:gd name="connsiteX3" fmla="*/ 0 w 8667864"/>
                <a:gd name="connsiteY3" fmla="*/ 4439245 h 4439245"/>
                <a:gd name="connsiteX0" fmla="*/ 8671671 w 8671671"/>
                <a:gd name="connsiteY0" fmla="*/ 1894278 h 4439245"/>
                <a:gd name="connsiteX1" fmla="*/ 2373282 w 8671671"/>
                <a:gd name="connsiteY1" fmla="*/ 0 h 4439245"/>
                <a:gd name="connsiteX2" fmla="*/ 0 w 8671671"/>
                <a:gd name="connsiteY2" fmla="*/ 1905 h 4439245"/>
                <a:gd name="connsiteX3" fmla="*/ 0 w 8671671"/>
                <a:gd name="connsiteY3" fmla="*/ 4439245 h 4439245"/>
                <a:gd name="connsiteX0" fmla="*/ 8674844 w 8674844"/>
                <a:gd name="connsiteY0" fmla="*/ 1891102 h 4439245"/>
                <a:gd name="connsiteX1" fmla="*/ 2373282 w 8674844"/>
                <a:gd name="connsiteY1" fmla="*/ 0 h 4439245"/>
                <a:gd name="connsiteX2" fmla="*/ 0 w 8674844"/>
                <a:gd name="connsiteY2" fmla="*/ 1905 h 4439245"/>
                <a:gd name="connsiteX3" fmla="*/ 0 w 8674844"/>
                <a:gd name="connsiteY3" fmla="*/ 4439245 h 4439245"/>
                <a:gd name="connsiteX0" fmla="*/ 8674844 w 8674844"/>
                <a:gd name="connsiteY0" fmla="*/ 1891102 h 4439245"/>
                <a:gd name="connsiteX1" fmla="*/ 2382799 w 8674844"/>
                <a:gd name="connsiteY1" fmla="*/ 0 h 4439245"/>
                <a:gd name="connsiteX2" fmla="*/ 0 w 8674844"/>
                <a:gd name="connsiteY2" fmla="*/ 1905 h 4439245"/>
                <a:gd name="connsiteX3" fmla="*/ 0 w 8674844"/>
                <a:gd name="connsiteY3" fmla="*/ 4439245 h 4439245"/>
                <a:gd name="connsiteX0" fmla="*/ 8677223 w 8677223"/>
                <a:gd name="connsiteY0" fmla="*/ 1891102 h 4439245"/>
                <a:gd name="connsiteX1" fmla="*/ 2385178 w 8677223"/>
                <a:gd name="connsiteY1" fmla="*/ 0 h 4439245"/>
                <a:gd name="connsiteX2" fmla="*/ 0 w 8677223"/>
                <a:gd name="connsiteY2" fmla="*/ 1905 h 4439245"/>
                <a:gd name="connsiteX3" fmla="*/ 2379 w 8677223"/>
                <a:gd name="connsiteY3" fmla="*/ 4439245 h 4439245"/>
                <a:gd name="connsiteX0" fmla="*/ 8677223 w 8677223"/>
                <a:gd name="connsiteY0" fmla="*/ 1891102 h 4439245"/>
                <a:gd name="connsiteX1" fmla="*/ 2385178 w 8677223"/>
                <a:gd name="connsiteY1" fmla="*/ 0 h 4439245"/>
                <a:gd name="connsiteX2" fmla="*/ 0 w 8677223"/>
                <a:gd name="connsiteY2" fmla="*/ 1905 h 4439245"/>
                <a:gd name="connsiteX3" fmla="*/ 0 w 8677223"/>
                <a:gd name="connsiteY3" fmla="*/ 4439245 h 4439245"/>
                <a:gd name="connsiteX0" fmla="*/ 8679603 w 8679603"/>
                <a:gd name="connsiteY0" fmla="*/ 1891102 h 4439245"/>
                <a:gd name="connsiteX1" fmla="*/ 2387558 w 8679603"/>
                <a:gd name="connsiteY1" fmla="*/ 0 h 4439245"/>
                <a:gd name="connsiteX2" fmla="*/ 2380 w 8679603"/>
                <a:gd name="connsiteY2" fmla="*/ 1905 h 4439245"/>
                <a:gd name="connsiteX3" fmla="*/ 0 w 8679603"/>
                <a:gd name="connsiteY3" fmla="*/ 4439245 h 4439245"/>
                <a:gd name="connsiteX0" fmla="*/ 8679831 w 8679831"/>
                <a:gd name="connsiteY0" fmla="*/ 1891102 h 4439245"/>
                <a:gd name="connsiteX1" fmla="*/ 2387786 w 8679831"/>
                <a:gd name="connsiteY1" fmla="*/ 0 h 4439245"/>
                <a:gd name="connsiteX2" fmla="*/ 229 w 8679831"/>
                <a:gd name="connsiteY2" fmla="*/ 1905 h 4439245"/>
                <a:gd name="connsiteX3" fmla="*/ 228 w 8679831"/>
                <a:gd name="connsiteY3" fmla="*/ 4439245 h 4439245"/>
                <a:gd name="connsiteX0" fmla="*/ 8679831 w 8679831"/>
                <a:gd name="connsiteY0" fmla="*/ 1891578 h 4439721"/>
                <a:gd name="connsiteX1" fmla="*/ 2387786 w 8679831"/>
                <a:gd name="connsiteY1" fmla="*/ 476 h 4439721"/>
                <a:gd name="connsiteX2" fmla="*/ 229 w 8679831"/>
                <a:gd name="connsiteY2" fmla="*/ 0 h 4439721"/>
                <a:gd name="connsiteX3" fmla="*/ 228 w 8679831"/>
                <a:gd name="connsiteY3" fmla="*/ 4439721 h 4439721"/>
                <a:gd name="connsiteX0" fmla="*/ 8679831 w 8679831"/>
                <a:gd name="connsiteY0" fmla="*/ 1893483 h 4441626"/>
                <a:gd name="connsiteX1" fmla="*/ 2385406 w 8679831"/>
                <a:gd name="connsiteY1" fmla="*/ 0 h 4441626"/>
                <a:gd name="connsiteX2" fmla="*/ 229 w 8679831"/>
                <a:gd name="connsiteY2" fmla="*/ 1905 h 4441626"/>
                <a:gd name="connsiteX3" fmla="*/ 228 w 8679831"/>
                <a:gd name="connsiteY3" fmla="*/ 4441626 h 4441626"/>
                <a:gd name="connsiteX0" fmla="*/ 8679831 w 8679831"/>
                <a:gd name="connsiteY0" fmla="*/ 1893483 h 4441626"/>
                <a:gd name="connsiteX1" fmla="*/ 2383027 w 8679831"/>
                <a:gd name="connsiteY1" fmla="*/ 0 h 4441626"/>
                <a:gd name="connsiteX2" fmla="*/ 229 w 8679831"/>
                <a:gd name="connsiteY2" fmla="*/ 1905 h 4441626"/>
                <a:gd name="connsiteX3" fmla="*/ 228 w 8679831"/>
                <a:gd name="connsiteY3" fmla="*/ 4441626 h 4441626"/>
                <a:gd name="connsiteX0" fmla="*/ 8682086 w 8682086"/>
                <a:gd name="connsiteY0" fmla="*/ 1893483 h 4441626"/>
                <a:gd name="connsiteX1" fmla="*/ 2385282 w 8682086"/>
                <a:gd name="connsiteY1" fmla="*/ 0 h 4441626"/>
                <a:gd name="connsiteX2" fmla="*/ 105 w 8682086"/>
                <a:gd name="connsiteY2" fmla="*/ 1905 h 4441626"/>
                <a:gd name="connsiteX3" fmla="*/ 2483 w 8682086"/>
                <a:gd name="connsiteY3" fmla="*/ 4441626 h 4441626"/>
                <a:gd name="connsiteX0" fmla="*/ 8682210 w 8682210"/>
                <a:gd name="connsiteY0" fmla="*/ 1893483 h 4441626"/>
                <a:gd name="connsiteX1" fmla="*/ 2385406 w 8682210"/>
                <a:gd name="connsiteY1" fmla="*/ 0 h 4441626"/>
                <a:gd name="connsiteX2" fmla="*/ 229 w 8682210"/>
                <a:gd name="connsiteY2" fmla="*/ 1905 h 4441626"/>
                <a:gd name="connsiteX3" fmla="*/ 228 w 8682210"/>
                <a:gd name="connsiteY3" fmla="*/ 4441626 h 4441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82210" h="4441626">
                  <a:moveTo>
                    <a:pt x="8682210" y="1893483"/>
                  </a:moveTo>
                  <a:lnTo>
                    <a:pt x="2385406" y="0"/>
                  </a:lnTo>
                  <a:lnTo>
                    <a:pt x="229" y="1905"/>
                  </a:lnTo>
                  <a:cubicBezTo>
                    <a:pt x="-564" y="1481018"/>
                    <a:pt x="1021" y="2962513"/>
                    <a:pt x="228" y="4441626"/>
                  </a:cubicBezTo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 w="0">
              <a:solidFill>
                <a:srgbClr val="FFFFFF">
                  <a:alpha val="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129794FA-3837-413F-B43E-8101F38DB5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849" y="1054894"/>
              <a:ext cx="1224000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8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9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18AF160F-96E9-4955-99D7-994C2C9302EB}"/>
              </a:ext>
            </a:extLst>
          </p:cNvPr>
          <p:cNvSpPr txBox="1"/>
          <p:nvPr userDrawn="1"/>
        </p:nvSpPr>
        <p:spPr>
          <a:xfrm>
            <a:off x="9720000" y="7358802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b="1" noProof="0" dirty="0">
                <a:solidFill>
                  <a:schemeClr val="bg1"/>
                </a:solidFill>
                <a:effectLst>
                  <a:glow rad="254000">
                    <a:schemeClr val="tx1">
                      <a:alpha val="34000"/>
                    </a:schemeClr>
                  </a:glow>
                </a:effectLst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450880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44936857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608313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2567015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394461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9496327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6837128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3099037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373533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69732575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>
            <a:extLst>
              <a:ext uri="{FF2B5EF4-FFF2-40B4-BE49-F238E27FC236}">
                <a16:creationId xmlns:a16="http://schemas.microsoft.com/office/drawing/2014/main" id="{5AE35FA9-A756-42A7-BDD7-3F335EE8FFE3}"/>
              </a:ext>
            </a:extLst>
          </p:cNvPr>
          <p:cNvGrpSpPr/>
          <p:nvPr userDrawn="1"/>
        </p:nvGrpSpPr>
        <p:grpSpPr>
          <a:xfrm>
            <a:off x="8674330" y="-7146"/>
            <a:ext cx="2017663" cy="5875676"/>
            <a:chOff x="8674330" y="-7146"/>
            <a:chExt cx="2017663" cy="5875676"/>
          </a:xfrm>
        </p:grpSpPr>
        <p:sp>
          <p:nvSpPr>
            <p:cNvPr id="28" name="Volný tvar 19">
              <a:extLst>
                <a:ext uri="{FF2B5EF4-FFF2-40B4-BE49-F238E27FC236}">
                  <a16:creationId xmlns:a16="http://schemas.microsoft.com/office/drawing/2014/main" id="{ECAD4CF8-15D6-45A4-9A3E-2EAF30600025}"/>
                </a:ext>
              </a:extLst>
            </p:cNvPr>
            <p:cNvSpPr/>
            <p:nvPr userDrawn="1"/>
          </p:nvSpPr>
          <p:spPr>
            <a:xfrm>
              <a:off x="8674330" y="-7146"/>
              <a:ext cx="2017489" cy="3172313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  <a:gd name="connsiteX0" fmla="*/ 2009594 w 2009594"/>
                <a:gd name="connsiteY0" fmla="*/ 2383 h 3168216"/>
                <a:gd name="connsiteX1" fmla="*/ 86330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2383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0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11963 w 2011963"/>
                <a:gd name="connsiteY0" fmla="*/ 0 h 3168216"/>
                <a:gd name="connsiteX1" fmla="*/ 863299 w 2011963"/>
                <a:gd name="connsiteY1" fmla="*/ 0 h 3168216"/>
                <a:gd name="connsiteX2" fmla="*/ 0 w 2011963"/>
                <a:gd name="connsiteY2" fmla="*/ 1896185 h 3168216"/>
                <a:gd name="connsiteX3" fmla="*/ 644299 w 2011963"/>
                <a:gd name="connsiteY3" fmla="*/ 3168216 h 3168216"/>
                <a:gd name="connsiteX4" fmla="*/ 2010945 w 2011963"/>
                <a:gd name="connsiteY4" fmla="*/ 3168216 h 3168216"/>
                <a:gd name="connsiteX0" fmla="*/ 2007224 w 2007224"/>
                <a:gd name="connsiteY0" fmla="*/ 0 h 3168216"/>
                <a:gd name="connsiteX1" fmla="*/ 858560 w 2007224"/>
                <a:gd name="connsiteY1" fmla="*/ 0 h 3168216"/>
                <a:gd name="connsiteX2" fmla="*/ 0 w 2007224"/>
                <a:gd name="connsiteY2" fmla="*/ 1898566 h 3168216"/>
                <a:gd name="connsiteX3" fmla="*/ 639560 w 2007224"/>
                <a:gd name="connsiteY3" fmla="*/ 3168216 h 3168216"/>
                <a:gd name="connsiteX4" fmla="*/ 2006206 w 2007224"/>
                <a:gd name="connsiteY4" fmla="*/ 3168216 h 3168216"/>
                <a:gd name="connsiteX0" fmla="*/ 2009593 w 2009593"/>
                <a:gd name="connsiteY0" fmla="*/ 0 h 3168216"/>
                <a:gd name="connsiteX1" fmla="*/ 860929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9593 w 2009593"/>
                <a:gd name="connsiteY0" fmla="*/ 0 h 3168216"/>
                <a:gd name="connsiteX1" fmla="*/ 856191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7223 w 2007223"/>
                <a:gd name="connsiteY0" fmla="*/ 0 h 3168216"/>
                <a:gd name="connsiteX1" fmla="*/ 853821 w 2007223"/>
                <a:gd name="connsiteY1" fmla="*/ 0 h 3168216"/>
                <a:gd name="connsiteX2" fmla="*/ 0 w 2007223"/>
                <a:gd name="connsiteY2" fmla="*/ 1893803 h 3168216"/>
                <a:gd name="connsiteX3" fmla="*/ 639559 w 2007223"/>
                <a:gd name="connsiteY3" fmla="*/ 3168216 h 3168216"/>
                <a:gd name="connsiteX4" fmla="*/ 2006205 w 2007223"/>
                <a:gd name="connsiteY4" fmla="*/ 3168216 h 3168216"/>
                <a:gd name="connsiteX0" fmla="*/ 2007223 w 2007223"/>
                <a:gd name="connsiteY0" fmla="*/ 2383 h 3170599"/>
                <a:gd name="connsiteX1" fmla="*/ 853821 w 2007223"/>
                <a:gd name="connsiteY1" fmla="*/ 0 h 3170599"/>
                <a:gd name="connsiteX2" fmla="*/ 0 w 2007223"/>
                <a:gd name="connsiteY2" fmla="*/ 1896186 h 3170599"/>
                <a:gd name="connsiteX3" fmla="*/ 639559 w 2007223"/>
                <a:gd name="connsiteY3" fmla="*/ 3170599 h 3170599"/>
                <a:gd name="connsiteX4" fmla="*/ 2006205 w 2007223"/>
                <a:gd name="connsiteY4" fmla="*/ 3170599 h 3170599"/>
                <a:gd name="connsiteX0" fmla="*/ 2007223 w 2007223"/>
                <a:gd name="connsiteY0" fmla="*/ 4765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  <a:gd name="connsiteX0" fmla="*/ 2007223 w 2007223"/>
                <a:gd name="connsiteY0" fmla="*/ 2383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223" h="3172981">
                  <a:moveTo>
                    <a:pt x="2007223" y="2383"/>
                  </a:moveTo>
                  <a:lnTo>
                    <a:pt x="856190" y="0"/>
                  </a:lnTo>
                  <a:lnTo>
                    <a:pt x="0" y="1898568"/>
                  </a:lnTo>
                  <a:lnTo>
                    <a:pt x="639559" y="3172981"/>
                  </a:lnTo>
                  <a:lnTo>
                    <a:pt x="2006205" y="3172981"/>
                  </a:lnTo>
                </a:path>
              </a:pathLst>
            </a:custGeom>
            <a:solidFill>
              <a:schemeClr val="bg1"/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2">
              <a:extLst>
                <a:ext uri="{FF2B5EF4-FFF2-40B4-BE49-F238E27FC236}">
                  <a16:creationId xmlns:a16="http://schemas.microsoft.com/office/drawing/2014/main" id="{C981EDDD-E193-4918-A4C6-20EEFBEF3539}"/>
                </a:ext>
              </a:extLst>
            </p:cNvPr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5E5FF2A5-E208-4B73-AD7B-6F892712DA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917" y="1054894"/>
              <a:ext cx="1223863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6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/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/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9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50" y="2358000"/>
            <a:ext cx="6550076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effectLst/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2AAC3E4E-663E-41E4-9AF5-A8BD479A5B6B}"/>
              </a:ext>
            </a:extLst>
          </p:cNvPr>
          <p:cNvSpPr txBox="1"/>
          <p:nvPr userDrawn="1"/>
        </p:nvSpPr>
        <p:spPr>
          <a:xfrm>
            <a:off x="9720000" y="7358802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b="1" noProof="0" dirty="0">
                <a:effectLst/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6074356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2833D64-B9AB-4CFD-A5C5-CBDEB073D059}"/>
              </a:ext>
            </a:extLst>
          </p:cNvPr>
          <p:cNvGrpSpPr/>
          <p:nvPr userDrawn="1"/>
        </p:nvGrpSpPr>
        <p:grpSpPr>
          <a:xfrm>
            <a:off x="8674330" y="-7146"/>
            <a:ext cx="2017663" cy="5875676"/>
            <a:chOff x="8674330" y="-7146"/>
            <a:chExt cx="2017663" cy="5875676"/>
          </a:xfrm>
        </p:grpSpPr>
        <p:sp>
          <p:nvSpPr>
            <p:cNvPr id="28" name="Volný tvar 19">
              <a:extLst>
                <a:ext uri="{FF2B5EF4-FFF2-40B4-BE49-F238E27FC236}">
                  <a16:creationId xmlns:a16="http://schemas.microsoft.com/office/drawing/2014/main" id="{E4E42DAB-CF13-4ABC-A5A8-E5E77347B69F}"/>
                </a:ext>
              </a:extLst>
            </p:cNvPr>
            <p:cNvSpPr/>
            <p:nvPr userDrawn="1"/>
          </p:nvSpPr>
          <p:spPr>
            <a:xfrm>
              <a:off x="8674330" y="-7146"/>
              <a:ext cx="2017489" cy="3172313"/>
            </a:xfrm>
            <a:custGeom>
              <a:avLst/>
              <a:gdLst>
                <a:gd name="connsiteX0" fmla="*/ 1600200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5886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7782 w 1608666"/>
                <a:gd name="connsiteY0" fmla="*/ 0 h 2472267"/>
                <a:gd name="connsiteX1" fmla="*/ 711200 w 1608666"/>
                <a:gd name="connsiteY1" fmla="*/ 0 h 2472267"/>
                <a:gd name="connsiteX2" fmla="*/ 0 w 1608666"/>
                <a:gd name="connsiteY2" fmla="*/ 1549400 h 2472267"/>
                <a:gd name="connsiteX3" fmla="*/ 465666 w 1608666"/>
                <a:gd name="connsiteY3" fmla="*/ 2472267 h 2472267"/>
                <a:gd name="connsiteX4" fmla="*/ 1608666 w 1608666"/>
                <a:gd name="connsiteY4" fmla="*/ 2472267 h 2472267"/>
                <a:gd name="connsiteX0" fmla="*/ 1609678 w 1609678"/>
                <a:gd name="connsiteY0" fmla="*/ 0 h 2472267"/>
                <a:gd name="connsiteX1" fmla="*/ 711200 w 1609678"/>
                <a:gd name="connsiteY1" fmla="*/ 0 h 2472267"/>
                <a:gd name="connsiteX2" fmla="*/ 0 w 1609678"/>
                <a:gd name="connsiteY2" fmla="*/ 1549400 h 2472267"/>
                <a:gd name="connsiteX3" fmla="*/ 465666 w 1609678"/>
                <a:gd name="connsiteY3" fmla="*/ 2472267 h 2472267"/>
                <a:gd name="connsiteX4" fmla="*/ 1608666 w 1609678"/>
                <a:gd name="connsiteY4" fmla="*/ 2472267 h 2472267"/>
                <a:gd name="connsiteX0" fmla="*/ 1609678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4 w 1611574"/>
                <a:gd name="connsiteY0" fmla="*/ 0 h 2472267"/>
                <a:gd name="connsiteX1" fmla="*/ 711200 w 1611574"/>
                <a:gd name="connsiteY1" fmla="*/ 0 h 2472267"/>
                <a:gd name="connsiteX2" fmla="*/ 0 w 1611574"/>
                <a:gd name="connsiteY2" fmla="*/ 1549400 h 2472267"/>
                <a:gd name="connsiteX3" fmla="*/ 465666 w 1611574"/>
                <a:gd name="connsiteY3" fmla="*/ 2472267 h 2472267"/>
                <a:gd name="connsiteX4" fmla="*/ 1610561 w 1611574"/>
                <a:gd name="connsiteY4" fmla="*/ 2472267 h 2472267"/>
                <a:gd name="connsiteX0" fmla="*/ 1609679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5 w 1611575"/>
                <a:gd name="connsiteY0" fmla="*/ 0 h 2472267"/>
                <a:gd name="connsiteX1" fmla="*/ 711200 w 1611575"/>
                <a:gd name="connsiteY1" fmla="*/ 0 h 2472267"/>
                <a:gd name="connsiteX2" fmla="*/ 0 w 1611575"/>
                <a:gd name="connsiteY2" fmla="*/ 1549400 h 2472267"/>
                <a:gd name="connsiteX3" fmla="*/ 465666 w 1611575"/>
                <a:gd name="connsiteY3" fmla="*/ 2472267 h 2472267"/>
                <a:gd name="connsiteX4" fmla="*/ 1610561 w 1611575"/>
                <a:gd name="connsiteY4" fmla="*/ 2472267 h 2472267"/>
                <a:gd name="connsiteX0" fmla="*/ 1609680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3995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9681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11577 w 1611577"/>
                <a:gd name="connsiteY0" fmla="*/ 0 h 2472267"/>
                <a:gd name="connsiteX1" fmla="*/ 711200 w 1611577"/>
                <a:gd name="connsiteY1" fmla="*/ 0 h 2472267"/>
                <a:gd name="connsiteX2" fmla="*/ 0 w 1611577"/>
                <a:gd name="connsiteY2" fmla="*/ 1549400 h 2472267"/>
                <a:gd name="connsiteX3" fmla="*/ 465666 w 1611577"/>
                <a:gd name="connsiteY3" fmla="*/ 2472267 h 2472267"/>
                <a:gd name="connsiteX4" fmla="*/ 1610561 w 1611577"/>
                <a:gd name="connsiteY4" fmla="*/ 2472267 h 2472267"/>
                <a:gd name="connsiteX0" fmla="*/ 1609682 w 1610561"/>
                <a:gd name="connsiteY0" fmla="*/ 0 h 2472267"/>
                <a:gd name="connsiteX1" fmla="*/ 711200 w 1610561"/>
                <a:gd name="connsiteY1" fmla="*/ 0 h 2472267"/>
                <a:gd name="connsiteX2" fmla="*/ 0 w 1610561"/>
                <a:gd name="connsiteY2" fmla="*/ 1549400 h 2472267"/>
                <a:gd name="connsiteX3" fmla="*/ 465666 w 1610561"/>
                <a:gd name="connsiteY3" fmla="*/ 2472267 h 2472267"/>
                <a:gd name="connsiteX4" fmla="*/ 1610561 w 1610561"/>
                <a:gd name="connsiteY4" fmla="*/ 2472267 h 2472267"/>
                <a:gd name="connsiteX0" fmla="*/ 1607787 w 1608666"/>
                <a:gd name="connsiteY0" fmla="*/ 0 h 2472267"/>
                <a:gd name="connsiteX1" fmla="*/ 709305 w 1608666"/>
                <a:gd name="connsiteY1" fmla="*/ 0 h 2472267"/>
                <a:gd name="connsiteX2" fmla="*/ 0 w 1608666"/>
                <a:gd name="connsiteY2" fmla="*/ 1549400 h 2472267"/>
                <a:gd name="connsiteX3" fmla="*/ 463771 w 1608666"/>
                <a:gd name="connsiteY3" fmla="*/ 2472267 h 2472267"/>
                <a:gd name="connsiteX4" fmla="*/ 1608666 w 1608666"/>
                <a:gd name="connsiteY4" fmla="*/ 2472267 h 2472267"/>
                <a:gd name="connsiteX0" fmla="*/ 1603996 w 1604875"/>
                <a:gd name="connsiteY0" fmla="*/ 0 h 2472267"/>
                <a:gd name="connsiteX1" fmla="*/ 705514 w 1604875"/>
                <a:gd name="connsiteY1" fmla="*/ 0 h 2472267"/>
                <a:gd name="connsiteX2" fmla="*/ 0 w 1604875"/>
                <a:gd name="connsiteY2" fmla="*/ 1549400 h 2472267"/>
                <a:gd name="connsiteX3" fmla="*/ 459980 w 1604875"/>
                <a:gd name="connsiteY3" fmla="*/ 2472267 h 2472267"/>
                <a:gd name="connsiteX4" fmla="*/ 1604875 w 1604875"/>
                <a:gd name="connsiteY4" fmla="*/ 2472267 h 2472267"/>
                <a:gd name="connsiteX0" fmla="*/ 1603996 w 1604875"/>
                <a:gd name="connsiteY0" fmla="*/ 1905 h 2474172"/>
                <a:gd name="connsiteX1" fmla="*/ 457229 w 1604875"/>
                <a:gd name="connsiteY1" fmla="*/ 0 h 2474172"/>
                <a:gd name="connsiteX2" fmla="*/ 0 w 1604875"/>
                <a:gd name="connsiteY2" fmla="*/ 1551305 h 2474172"/>
                <a:gd name="connsiteX3" fmla="*/ 459980 w 1604875"/>
                <a:gd name="connsiteY3" fmla="*/ 2474172 h 2474172"/>
                <a:gd name="connsiteX4" fmla="*/ 1604875 w 1604875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5576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2474172"/>
                <a:gd name="connsiteX1" fmla="*/ 862825 w 2010471"/>
                <a:gd name="connsiteY1" fmla="*/ 0 h 2474172"/>
                <a:gd name="connsiteX2" fmla="*/ 0 w 2010471"/>
                <a:gd name="connsiteY2" fmla="*/ 1898088 h 2474172"/>
                <a:gd name="connsiteX3" fmla="*/ 867472 w 2010471"/>
                <a:gd name="connsiteY3" fmla="*/ 2474172 h 2474172"/>
                <a:gd name="connsiteX4" fmla="*/ 2010471 w 2010471"/>
                <a:gd name="connsiteY4" fmla="*/ 2474172 h 2474172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867472 w 2010471"/>
                <a:gd name="connsiteY3" fmla="*/ 2474172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3927"/>
                <a:gd name="connsiteX1" fmla="*/ 862825 w 2010471"/>
                <a:gd name="connsiteY1" fmla="*/ 0 h 3163927"/>
                <a:gd name="connsiteX2" fmla="*/ 0 w 2010471"/>
                <a:gd name="connsiteY2" fmla="*/ 1898088 h 3163927"/>
                <a:gd name="connsiteX3" fmla="*/ 640035 w 2010471"/>
                <a:gd name="connsiteY3" fmla="*/ 3163927 h 3163927"/>
                <a:gd name="connsiteX4" fmla="*/ 2010471 w 2010471"/>
                <a:gd name="connsiteY4" fmla="*/ 3163927 h 3163927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0035 w 2010471"/>
                <a:gd name="connsiteY3" fmla="*/ 3163927 h 3167738"/>
                <a:gd name="connsiteX4" fmla="*/ 2010471 w 2010471"/>
                <a:gd name="connsiteY4" fmla="*/ 3167738 h 3167738"/>
                <a:gd name="connsiteX0" fmla="*/ 2009592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3383 w 2013383"/>
                <a:gd name="connsiteY0" fmla="*/ 1905 h 3167738"/>
                <a:gd name="connsiteX1" fmla="*/ 862825 w 2013383"/>
                <a:gd name="connsiteY1" fmla="*/ 0 h 3167738"/>
                <a:gd name="connsiteX2" fmla="*/ 0 w 2013383"/>
                <a:gd name="connsiteY2" fmla="*/ 1898088 h 3167738"/>
                <a:gd name="connsiteX3" fmla="*/ 641930 w 2013383"/>
                <a:gd name="connsiteY3" fmla="*/ 3167738 h 3167738"/>
                <a:gd name="connsiteX4" fmla="*/ 2010471 w 2013383"/>
                <a:gd name="connsiteY4" fmla="*/ 3167738 h 3167738"/>
                <a:gd name="connsiteX0" fmla="*/ 2011488 w 2011488"/>
                <a:gd name="connsiteY0" fmla="*/ 1905 h 3167738"/>
                <a:gd name="connsiteX1" fmla="*/ 862825 w 2011488"/>
                <a:gd name="connsiteY1" fmla="*/ 0 h 3167738"/>
                <a:gd name="connsiteX2" fmla="*/ 0 w 2011488"/>
                <a:gd name="connsiteY2" fmla="*/ 1898088 h 3167738"/>
                <a:gd name="connsiteX3" fmla="*/ 641930 w 2011488"/>
                <a:gd name="connsiteY3" fmla="*/ 3167738 h 3167738"/>
                <a:gd name="connsiteX4" fmla="*/ 2010471 w 2011488"/>
                <a:gd name="connsiteY4" fmla="*/ 3167738 h 3167738"/>
                <a:gd name="connsiteX0" fmla="*/ 2009593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11489 w 2011489"/>
                <a:gd name="connsiteY0" fmla="*/ 1905 h 3167738"/>
                <a:gd name="connsiteX1" fmla="*/ 862825 w 2011489"/>
                <a:gd name="connsiteY1" fmla="*/ 0 h 3167738"/>
                <a:gd name="connsiteX2" fmla="*/ 0 w 2011489"/>
                <a:gd name="connsiteY2" fmla="*/ 1898088 h 3167738"/>
                <a:gd name="connsiteX3" fmla="*/ 641930 w 2011489"/>
                <a:gd name="connsiteY3" fmla="*/ 3167738 h 3167738"/>
                <a:gd name="connsiteX4" fmla="*/ 2010471 w 2011489"/>
                <a:gd name="connsiteY4" fmla="*/ 3167738 h 3167738"/>
                <a:gd name="connsiteX0" fmla="*/ 2009594 w 2010471"/>
                <a:gd name="connsiteY0" fmla="*/ 1905 h 3167738"/>
                <a:gd name="connsiteX1" fmla="*/ 862825 w 2010471"/>
                <a:gd name="connsiteY1" fmla="*/ 0 h 3167738"/>
                <a:gd name="connsiteX2" fmla="*/ 0 w 2010471"/>
                <a:gd name="connsiteY2" fmla="*/ 1898088 h 3167738"/>
                <a:gd name="connsiteX3" fmla="*/ 641930 w 2010471"/>
                <a:gd name="connsiteY3" fmla="*/ 3167738 h 3167738"/>
                <a:gd name="connsiteX4" fmla="*/ 2010471 w 2010471"/>
                <a:gd name="connsiteY4" fmla="*/ 3167738 h 3167738"/>
                <a:gd name="connsiteX0" fmla="*/ 2009594 w 2009594"/>
                <a:gd name="connsiteY0" fmla="*/ 1905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9643"/>
                <a:gd name="connsiteX1" fmla="*/ 862825 w 2009594"/>
                <a:gd name="connsiteY1" fmla="*/ 1905 h 3169643"/>
                <a:gd name="connsiteX2" fmla="*/ 0 w 2009594"/>
                <a:gd name="connsiteY2" fmla="*/ 1899993 h 3169643"/>
                <a:gd name="connsiteX3" fmla="*/ 641930 w 2009594"/>
                <a:gd name="connsiteY3" fmla="*/ 3169643 h 3169643"/>
                <a:gd name="connsiteX4" fmla="*/ 2008576 w 2009594"/>
                <a:gd name="connsiteY4" fmla="*/ 3169643 h 3169643"/>
                <a:gd name="connsiteX0" fmla="*/ 2009594 w 2009594"/>
                <a:gd name="connsiteY0" fmla="*/ 0 h 3167738"/>
                <a:gd name="connsiteX1" fmla="*/ 862825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1905 h 3167738"/>
                <a:gd name="connsiteX1" fmla="*/ 860930 w 2009594"/>
                <a:gd name="connsiteY1" fmla="*/ 0 h 3167738"/>
                <a:gd name="connsiteX2" fmla="*/ 0 w 2009594"/>
                <a:gd name="connsiteY2" fmla="*/ 1898088 h 3167738"/>
                <a:gd name="connsiteX3" fmla="*/ 641930 w 2009594"/>
                <a:gd name="connsiteY3" fmla="*/ 3167738 h 3167738"/>
                <a:gd name="connsiteX4" fmla="*/ 2008576 w 2009594"/>
                <a:gd name="connsiteY4" fmla="*/ 3167738 h 3167738"/>
                <a:gd name="connsiteX0" fmla="*/ 2009594 w 2009594"/>
                <a:gd name="connsiteY0" fmla="*/ 0 h 3165833"/>
                <a:gd name="connsiteX1" fmla="*/ 860930 w 2009594"/>
                <a:gd name="connsiteY1" fmla="*/ 0 h 3165833"/>
                <a:gd name="connsiteX2" fmla="*/ 0 w 2009594"/>
                <a:gd name="connsiteY2" fmla="*/ 1896183 h 3165833"/>
                <a:gd name="connsiteX3" fmla="*/ 641930 w 2009594"/>
                <a:gd name="connsiteY3" fmla="*/ 3165833 h 3165833"/>
                <a:gd name="connsiteX4" fmla="*/ 2008576 w 2009594"/>
                <a:gd name="connsiteY4" fmla="*/ 3165833 h 3165833"/>
                <a:gd name="connsiteX0" fmla="*/ 2009594 w 2009594"/>
                <a:gd name="connsiteY0" fmla="*/ 2383 h 3168216"/>
                <a:gd name="connsiteX1" fmla="*/ 86330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2383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09594 w 2009594"/>
                <a:gd name="connsiteY0" fmla="*/ 0 h 3168216"/>
                <a:gd name="connsiteX1" fmla="*/ 860930 w 2009594"/>
                <a:gd name="connsiteY1" fmla="*/ 0 h 3168216"/>
                <a:gd name="connsiteX2" fmla="*/ 0 w 2009594"/>
                <a:gd name="connsiteY2" fmla="*/ 1898566 h 3168216"/>
                <a:gd name="connsiteX3" fmla="*/ 641930 w 2009594"/>
                <a:gd name="connsiteY3" fmla="*/ 3168216 h 3168216"/>
                <a:gd name="connsiteX4" fmla="*/ 2008576 w 2009594"/>
                <a:gd name="connsiteY4" fmla="*/ 3168216 h 3168216"/>
                <a:gd name="connsiteX0" fmla="*/ 2011963 w 2011963"/>
                <a:gd name="connsiteY0" fmla="*/ 0 h 3168216"/>
                <a:gd name="connsiteX1" fmla="*/ 863299 w 2011963"/>
                <a:gd name="connsiteY1" fmla="*/ 0 h 3168216"/>
                <a:gd name="connsiteX2" fmla="*/ 0 w 2011963"/>
                <a:gd name="connsiteY2" fmla="*/ 1896185 h 3168216"/>
                <a:gd name="connsiteX3" fmla="*/ 644299 w 2011963"/>
                <a:gd name="connsiteY3" fmla="*/ 3168216 h 3168216"/>
                <a:gd name="connsiteX4" fmla="*/ 2010945 w 2011963"/>
                <a:gd name="connsiteY4" fmla="*/ 3168216 h 3168216"/>
                <a:gd name="connsiteX0" fmla="*/ 2007224 w 2007224"/>
                <a:gd name="connsiteY0" fmla="*/ 0 h 3168216"/>
                <a:gd name="connsiteX1" fmla="*/ 858560 w 2007224"/>
                <a:gd name="connsiteY1" fmla="*/ 0 h 3168216"/>
                <a:gd name="connsiteX2" fmla="*/ 0 w 2007224"/>
                <a:gd name="connsiteY2" fmla="*/ 1898566 h 3168216"/>
                <a:gd name="connsiteX3" fmla="*/ 639560 w 2007224"/>
                <a:gd name="connsiteY3" fmla="*/ 3168216 h 3168216"/>
                <a:gd name="connsiteX4" fmla="*/ 2006206 w 2007224"/>
                <a:gd name="connsiteY4" fmla="*/ 3168216 h 3168216"/>
                <a:gd name="connsiteX0" fmla="*/ 2009593 w 2009593"/>
                <a:gd name="connsiteY0" fmla="*/ 0 h 3168216"/>
                <a:gd name="connsiteX1" fmla="*/ 860929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9593 w 2009593"/>
                <a:gd name="connsiteY0" fmla="*/ 0 h 3168216"/>
                <a:gd name="connsiteX1" fmla="*/ 856191 w 2009593"/>
                <a:gd name="connsiteY1" fmla="*/ 0 h 3168216"/>
                <a:gd name="connsiteX2" fmla="*/ 0 w 2009593"/>
                <a:gd name="connsiteY2" fmla="*/ 1893803 h 3168216"/>
                <a:gd name="connsiteX3" fmla="*/ 641929 w 2009593"/>
                <a:gd name="connsiteY3" fmla="*/ 3168216 h 3168216"/>
                <a:gd name="connsiteX4" fmla="*/ 2008575 w 2009593"/>
                <a:gd name="connsiteY4" fmla="*/ 3168216 h 3168216"/>
                <a:gd name="connsiteX0" fmla="*/ 2007223 w 2007223"/>
                <a:gd name="connsiteY0" fmla="*/ 0 h 3168216"/>
                <a:gd name="connsiteX1" fmla="*/ 853821 w 2007223"/>
                <a:gd name="connsiteY1" fmla="*/ 0 h 3168216"/>
                <a:gd name="connsiteX2" fmla="*/ 0 w 2007223"/>
                <a:gd name="connsiteY2" fmla="*/ 1893803 h 3168216"/>
                <a:gd name="connsiteX3" fmla="*/ 639559 w 2007223"/>
                <a:gd name="connsiteY3" fmla="*/ 3168216 h 3168216"/>
                <a:gd name="connsiteX4" fmla="*/ 2006205 w 2007223"/>
                <a:gd name="connsiteY4" fmla="*/ 3168216 h 3168216"/>
                <a:gd name="connsiteX0" fmla="*/ 2007223 w 2007223"/>
                <a:gd name="connsiteY0" fmla="*/ 2383 h 3170599"/>
                <a:gd name="connsiteX1" fmla="*/ 853821 w 2007223"/>
                <a:gd name="connsiteY1" fmla="*/ 0 h 3170599"/>
                <a:gd name="connsiteX2" fmla="*/ 0 w 2007223"/>
                <a:gd name="connsiteY2" fmla="*/ 1896186 h 3170599"/>
                <a:gd name="connsiteX3" fmla="*/ 639559 w 2007223"/>
                <a:gd name="connsiteY3" fmla="*/ 3170599 h 3170599"/>
                <a:gd name="connsiteX4" fmla="*/ 2006205 w 2007223"/>
                <a:gd name="connsiteY4" fmla="*/ 3170599 h 3170599"/>
                <a:gd name="connsiteX0" fmla="*/ 2007223 w 2007223"/>
                <a:gd name="connsiteY0" fmla="*/ 4765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  <a:gd name="connsiteX0" fmla="*/ 2007223 w 2007223"/>
                <a:gd name="connsiteY0" fmla="*/ 2383 h 3172981"/>
                <a:gd name="connsiteX1" fmla="*/ 856190 w 2007223"/>
                <a:gd name="connsiteY1" fmla="*/ 0 h 3172981"/>
                <a:gd name="connsiteX2" fmla="*/ 0 w 2007223"/>
                <a:gd name="connsiteY2" fmla="*/ 1898568 h 3172981"/>
                <a:gd name="connsiteX3" fmla="*/ 639559 w 2007223"/>
                <a:gd name="connsiteY3" fmla="*/ 3172981 h 3172981"/>
                <a:gd name="connsiteX4" fmla="*/ 2006205 w 2007223"/>
                <a:gd name="connsiteY4" fmla="*/ 3172981 h 3172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7223" h="3172981">
                  <a:moveTo>
                    <a:pt x="2007223" y="2383"/>
                  </a:moveTo>
                  <a:lnTo>
                    <a:pt x="856190" y="0"/>
                  </a:lnTo>
                  <a:lnTo>
                    <a:pt x="0" y="1898568"/>
                  </a:lnTo>
                  <a:lnTo>
                    <a:pt x="639559" y="3172981"/>
                  </a:lnTo>
                  <a:lnTo>
                    <a:pt x="2006205" y="3172981"/>
                  </a:lnTo>
                </a:path>
              </a:pathLst>
            </a:custGeom>
            <a:solidFill>
              <a:schemeClr val="bg1"/>
            </a:solidFill>
            <a:ln w="0">
              <a:solidFill>
                <a:schemeClr val="bg1">
                  <a:alpha val="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Volný tvar 22">
              <a:extLst>
                <a:ext uri="{FF2B5EF4-FFF2-40B4-BE49-F238E27FC236}">
                  <a16:creationId xmlns:a16="http://schemas.microsoft.com/office/drawing/2014/main" id="{E041703B-6D81-4AC8-B57E-30741EDDD3A3}"/>
                </a:ext>
              </a:extLst>
            </p:cNvPr>
            <p:cNvSpPr/>
            <p:nvPr userDrawn="1"/>
          </p:nvSpPr>
          <p:spPr>
            <a:xfrm>
              <a:off x="9316886" y="3164324"/>
              <a:ext cx="1375107" cy="2704206"/>
            </a:xfrm>
            <a:custGeom>
              <a:avLst/>
              <a:gdLst>
                <a:gd name="connsiteX0" fmla="*/ 1134533 w 1134533"/>
                <a:gd name="connsiteY0" fmla="*/ 0 h 2243667"/>
                <a:gd name="connsiteX1" fmla="*/ 1134533 w 1134533"/>
                <a:gd name="connsiteY1" fmla="*/ 2243667 h 2243667"/>
                <a:gd name="connsiteX2" fmla="*/ 0 w 1134533"/>
                <a:gd name="connsiteY2" fmla="*/ 0 h 2243667"/>
                <a:gd name="connsiteX0" fmla="*/ 1134533 w 1138298"/>
                <a:gd name="connsiteY0" fmla="*/ 0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134533 w 1138298"/>
                <a:gd name="connsiteY0" fmla="*/ 693566 h 3398339"/>
                <a:gd name="connsiteX1" fmla="*/ 1138298 w 1138298"/>
                <a:gd name="connsiteY1" fmla="*/ 3398339 h 3398339"/>
                <a:gd name="connsiteX2" fmla="*/ 0 w 1138298"/>
                <a:gd name="connsiteY2" fmla="*/ 0 h 3398339"/>
                <a:gd name="connsiteX0" fmla="*/ 1356642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6642 w 1358525"/>
                <a:gd name="connsiteY0" fmla="*/ 0 h 2704773"/>
                <a:gd name="connsiteX1" fmla="*/ 1358525 w 1358525"/>
                <a:gd name="connsiteY1" fmla="*/ 2704773 h 2704773"/>
                <a:gd name="connsiteX2" fmla="*/ 0 w 1358525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  <a:gd name="connsiteX0" fmla="*/ 1360406 w 1360587"/>
                <a:gd name="connsiteY0" fmla="*/ 0 h 2704773"/>
                <a:gd name="connsiteX1" fmla="*/ 1360407 w 1360587"/>
                <a:gd name="connsiteY1" fmla="*/ 2704773 h 2704773"/>
                <a:gd name="connsiteX2" fmla="*/ 0 w 1360587"/>
                <a:gd name="connsiteY2" fmla="*/ 0 h 2704773"/>
                <a:gd name="connsiteX0" fmla="*/ 1358524 w 1360407"/>
                <a:gd name="connsiteY0" fmla="*/ 0 h 2704773"/>
                <a:gd name="connsiteX1" fmla="*/ 1360407 w 1360407"/>
                <a:gd name="connsiteY1" fmla="*/ 2704773 h 2704773"/>
                <a:gd name="connsiteX2" fmla="*/ 0 w 1360407"/>
                <a:gd name="connsiteY2" fmla="*/ 0 h 2704773"/>
                <a:gd name="connsiteX0" fmla="*/ 1358524 w 1358705"/>
                <a:gd name="connsiteY0" fmla="*/ 0 h 2704773"/>
                <a:gd name="connsiteX1" fmla="*/ 1358525 w 1358705"/>
                <a:gd name="connsiteY1" fmla="*/ 2704773 h 2704773"/>
                <a:gd name="connsiteX2" fmla="*/ 0 w 1358705"/>
                <a:gd name="connsiteY2" fmla="*/ 0 h 270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58705" h="2704773">
                  <a:moveTo>
                    <a:pt x="1358524" y="0"/>
                  </a:moveTo>
                  <a:cubicBezTo>
                    <a:pt x="1359152" y="901591"/>
                    <a:pt x="1357897" y="1803182"/>
                    <a:pt x="1358525" y="2704773"/>
                  </a:cubicBezTo>
                  <a:cubicBezTo>
                    <a:pt x="980347" y="1956884"/>
                    <a:pt x="378178" y="747889"/>
                    <a:pt x="0" y="0"/>
                  </a:cubicBezTo>
                </a:path>
              </a:pathLst>
            </a:custGeom>
            <a:gradFill>
              <a:gsLst>
                <a:gs pos="0">
                  <a:schemeClr val="bg1"/>
                </a:gs>
                <a:gs pos="100000">
                  <a:schemeClr val="bg1">
                    <a:alpha val="30000"/>
                  </a:scheme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100" noProof="0" dirty="0">
                <a:solidFill>
                  <a:schemeClr val="tx1"/>
                </a:solidFill>
                <a:latin typeface="SKODA Next" panose="020B0504020603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0893AE90-E176-47D9-9A4D-CD436DF8B6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19917" y="1054894"/>
              <a:ext cx="1223863" cy="1622866"/>
            </a:xfrm>
            <a:prstGeom prst="rect">
              <a:avLst/>
            </a:prstGeom>
          </p:spPr>
        </p:pic>
      </p:grp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0"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342848" y="1638000"/>
            <a:ext cx="8278865" cy="540000"/>
          </a:xfrm>
        </p:spPr>
        <p:txBody>
          <a:bodyPr anchor="t" anchorCtr="0">
            <a:noAutofit/>
          </a:bodyPr>
          <a:lstStyle>
            <a:lvl1pPr>
              <a:lnSpc>
                <a:spcPts val="4400"/>
              </a:lnSpc>
              <a:defRPr sz="3600" cap="all" baseline="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Název prezentace</a:t>
            </a:r>
          </a:p>
        </p:txBody>
      </p:sp>
      <p:sp>
        <p:nvSpPr>
          <p:cNvPr id="15" name="Zástupný symbol pro text 14"/>
          <p:cNvSpPr>
            <a:spLocks noGrp="1"/>
          </p:cNvSpPr>
          <p:nvPr>
            <p:ph type="body" sz="quarter" idx="13" hasCustomPrompt="1"/>
          </p:nvPr>
        </p:nvSpPr>
        <p:spPr>
          <a:xfrm>
            <a:off x="341948" y="5506843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tx1"/>
                </a:solidFill>
                <a:effectLst/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Jméno</a:t>
            </a:r>
          </a:p>
        </p:txBody>
      </p:sp>
      <p:sp>
        <p:nvSpPr>
          <p:cNvPr id="17" name="Zástupný symbol pro text 16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8" y="6298677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tx1"/>
                </a:solidFill>
                <a:effectLst/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sz="2000" noProof="0" dirty="0"/>
              <a:t>XX.XX.2019</a:t>
            </a:r>
            <a:endParaRPr lang="cs-CZ" noProof="0" dirty="0"/>
          </a:p>
        </p:txBody>
      </p:sp>
      <p:sp>
        <p:nvSpPr>
          <p:cNvPr id="19" name="Zástupný symbol pro text 18"/>
          <p:cNvSpPr>
            <a:spLocks noGrp="1"/>
          </p:cNvSpPr>
          <p:nvPr>
            <p:ph type="body" sz="quarter" idx="15" hasCustomPrompt="1"/>
          </p:nvPr>
        </p:nvSpPr>
        <p:spPr>
          <a:xfrm>
            <a:off x="342849" y="2358000"/>
            <a:ext cx="6550641" cy="719849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Dodatečné informace</a:t>
            </a:r>
          </a:p>
        </p:txBody>
      </p:sp>
      <p:sp>
        <p:nvSpPr>
          <p:cNvPr id="21" name="Zástupný symbol pro text 20"/>
          <p:cNvSpPr>
            <a:spLocks noGrp="1"/>
          </p:cNvSpPr>
          <p:nvPr>
            <p:ph type="body" sz="quarter" idx="16" hasCustomPrompt="1"/>
          </p:nvPr>
        </p:nvSpPr>
        <p:spPr>
          <a:xfrm>
            <a:off x="341949" y="5902760"/>
            <a:ext cx="5183231" cy="323932"/>
          </a:xfrm>
        </p:spPr>
        <p:txBody>
          <a:bodyPr vert="horz" lIns="0" tIns="0" rIns="0" bIns="0" rtlCol="0" anchor="b" anchorCtr="0">
            <a:noAutofit/>
          </a:bodyPr>
          <a:lstStyle>
            <a:lvl1pPr marL="180000" indent="-180000">
              <a:buNone/>
              <a:defRPr lang="cs-CZ" sz="2000" noProof="0" dirty="0">
                <a:solidFill>
                  <a:schemeClr val="tx1"/>
                </a:solidFill>
                <a:effectLst/>
              </a:defRPr>
            </a:lvl1pPr>
          </a:lstStyle>
          <a:p>
            <a:pPr marL="0" lvl="0" indent="0">
              <a:lnSpc>
                <a:spcPts val="2400"/>
              </a:lnSpc>
            </a:pPr>
            <a:r>
              <a:rPr lang="cs-CZ" noProof="0" dirty="0"/>
              <a:t>Oddělení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>
            <p:ph type="sldNum" sz="quarter" idx="10"/>
          </p:nvPr>
        </p:nvSpPr>
        <p:spPr>
          <a:xfrm>
            <a:off x="342849" y="7162496"/>
            <a:ext cx="269960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2" name="Zástupný symbol pro zápatí 6"/>
          <p:cNvSpPr>
            <a:spLocks noGrp="1"/>
          </p:cNvSpPr>
          <p:nvPr>
            <p:ph type="ftr" sz="quarter" idx="11"/>
          </p:nvPr>
        </p:nvSpPr>
        <p:spPr>
          <a:xfrm>
            <a:off x="719894" y="7162496"/>
            <a:ext cx="6173596" cy="179962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2659AA5-6E1F-46D4-B8A4-0BCE4BBA3D99}"/>
              </a:ext>
            </a:extLst>
          </p:cNvPr>
          <p:cNvSpPr txBox="1"/>
          <p:nvPr userDrawn="1"/>
        </p:nvSpPr>
        <p:spPr>
          <a:xfrm>
            <a:off x="9720000" y="7358802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b="1" noProof="0" dirty="0">
                <a:effectLst/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814984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0" y="1439561"/>
            <a:ext cx="10006115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12020154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51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525268" y="1439561"/>
            <a:ext cx="4823697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8531643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342849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98324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253800" y="1439561"/>
            <a:ext cx="3095166" cy="5183686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5574992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368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1203765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41370811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725755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2487030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50" y="1439560"/>
            <a:ext cx="3096065" cy="5183048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97436" y="1439560"/>
            <a:ext cx="6551028" cy="5183048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6841470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 dirty="0"/>
              <a:t>Další kapitola</a:t>
            </a:r>
          </a:p>
        </p:txBody>
      </p:sp>
    </p:spTree>
    <p:extLst>
      <p:ext uri="{BB962C8B-B14F-4D97-AF65-F5344CB8AC3E}">
        <p14:creationId xmlns:p14="http://schemas.microsoft.com/office/powerpoint/2010/main" val="16031562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1949" y="1439562"/>
            <a:ext cx="10006515" cy="5183685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998053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0691813" cy="6964537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364539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42850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342850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342850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342850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525268" y="1439699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525268" y="3743214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525268" y="4139132"/>
            <a:ext cx="4823696" cy="2231531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525268" y="6442647"/>
            <a:ext cx="4823696" cy="179962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 dirty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341949" y="899811"/>
            <a:ext cx="10006115" cy="359924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 dirty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49687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gi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vmlDrawing" Target="../drawings/vmlDrawing4.vml"/><Relationship Id="rId17" Type="http://schemas.openxmlformats.org/officeDocument/2006/relationships/image" Target="../media/image2.gif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10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vmlDrawing" Target="../drawings/vmlDrawing7.vml"/><Relationship Id="rId17" Type="http://schemas.openxmlformats.org/officeDocument/2006/relationships/image" Target="../media/image2.gif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ags" Target="../tags/tag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14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vmlDrawing" Target="../drawings/vmlDrawing10.vml"/><Relationship Id="rId17" Type="http://schemas.openxmlformats.org/officeDocument/2006/relationships/image" Target="../media/image2.gif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oleObject" Target="../embeddings/oleObject10.bin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tags" Target="../tags/tag1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ags" Target="../tags/tag1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vmlDrawing" Target="../drawings/vmlDrawing13.vml"/><Relationship Id="rId17" Type="http://schemas.openxmlformats.org/officeDocument/2006/relationships/image" Target="../media/image2.gif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5.xml"/><Relationship Id="rId15" Type="http://schemas.openxmlformats.org/officeDocument/2006/relationships/oleObject" Target="../embeddings/oleObject13.bin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ags" Target="../tags/tag1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tags" Target="../tags/tag22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vmlDrawing" Target="../drawings/vmlDrawing16.vml"/><Relationship Id="rId17" Type="http://schemas.openxmlformats.org/officeDocument/2006/relationships/image" Target="../media/image6.gif"/><Relationship Id="rId2" Type="http://schemas.openxmlformats.org/officeDocument/2006/relationships/slideLayout" Target="../slideLayouts/slideLayout5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5.xml"/><Relationship Id="rId15" Type="http://schemas.openxmlformats.org/officeDocument/2006/relationships/oleObject" Target="../embeddings/oleObject16.bin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tags" Target="../tags/tag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428489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7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délník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cs-CZ" sz="2800" b="1" i="0" baseline="0" dirty="0">
              <a:latin typeface="SKODA Next" panose="020B0504020603020204" pitchFamily="34" charset="0"/>
              <a:ea typeface="Verdana" panose="020B0604030504040204" pitchFamily="34" charset="0"/>
              <a:cs typeface="Verdana" panose="020B0604030504040204" pitchFamily="34" charset="0"/>
              <a:sym typeface="SKODA Next" panose="020B0504020603020204" pitchFamily="34" charset="0"/>
            </a:endParaRP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65821A9F-7F62-47EC-A83E-6830E06FE994}"/>
              </a:ext>
            </a:extLst>
          </p:cNvPr>
          <p:cNvGrpSpPr/>
          <p:nvPr userDrawn="1"/>
        </p:nvGrpSpPr>
        <p:grpSpPr>
          <a:xfrm>
            <a:off x="0" y="6962400"/>
            <a:ext cx="10691814" cy="599982"/>
            <a:chOff x="0" y="5414400"/>
            <a:chExt cx="10691814" cy="599982"/>
          </a:xfrm>
        </p:grpSpPr>
        <p:sp>
          <p:nvSpPr>
            <p:cNvPr id="15" name="Volný tvar 15">
              <a:extLst>
                <a:ext uri="{FF2B5EF4-FFF2-40B4-BE49-F238E27FC236}">
                  <a16:creationId xmlns:a16="http://schemas.microsoft.com/office/drawing/2014/main" id="{8BC260A7-3C1C-4251-A029-2D565966D11A}"/>
                </a:ext>
              </a:extLst>
            </p:cNvPr>
            <p:cNvSpPr/>
            <p:nvPr userDrawn="1"/>
          </p:nvSpPr>
          <p:spPr>
            <a:xfrm>
              <a:off x="0" y="5414400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sp>
          <p:nvSpPr>
            <p:cNvPr id="16" name="Volný tvar 16">
              <a:extLst>
                <a:ext uri="{FF2B5EF4-FFF2-40B4-BE49-F238E27FC236}">
                  <a16:creationId xmlns:a16="http://schemas.microsoft.com/office/drawing/2014/main" id="{8E869373-6BCA-41A4-B92B-019DF0BC10B1}"/>
                </a:ext>
              </a:extLst>
            </p:cNvPr>
            <p:cNvSpPr/>
            <p:nvPr userDrawn="1"/>
          </p:nvSpPr>
          <p:spPr>
            <a:xfrm>
              <a:off x="1907202" y="5657276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sp>
          <p:nvSpPr>
            <p:cNvPr id="17" name="Volný tvar 17">
              <a:extLst>
                <a:ext uri="{FF2B5EF4-FFF2-40B4-BE49-F238E27FC236}">
                  <a16:creationId xmlns:a16="http://schemas.microsoft.com/office/drawing/2014/main" id="{DF63744C-2B89-42BB-99AA-923AC3330CF7}"/>
                </a:ext>
              </a:extLst>
            </p:cNvPr>
            <p:cNvSpPr/>
            <p:nvPr userDrawn="1"/>
          </p:nvSpPr>
          <p:spPr>
            <a:xfrm>
              <a:off x="3635637" y="5417345"/>
              <a:ext cx="7056177" cy="239931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693213 w 4707650"/>
                <a:gd name="connsiteY2" fmla="*/ 25632 h 239370"/>
                <a:gd name="connsiteX3" fmla="*/ 4707650 w 4707650"/>
                <a:gd name="connsiteY3" fmla="*/ 0 h 239370"/>
                <a:gd name="connsiteX4" fmla="*/ 0 w 4707650"/>
                <a:gd name="connsiteY4" fmla="*/ 410 h 239370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957353 w 6957353"/>
                <a:gd name="connsiteY2" fmla="*/ 0 h 239932"/>
                <a:gd name="connsiteX3" fmla="*/ 4707650 w 6957353"/>
                <a:gd name="connsiteY3" fmla="*/ 562 h 239932"/>
                <a:gd name="connsiteX4" fmla="*/ 0 w 6957353"/>
                <a:gd name="connsiteY4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041363 w 6957353"/>
                <a:gd name="connsiteY2" fmla="*/ 92869 h 239932"/>
                <a:gd name="connsiteX3" fmla="*/ 6957353 w 6957353"/>
                <a:gd name="connsiteY3" fmla="*/ 0 h 239932"/>
                <a:gd name="connsiteX4" fmla="*/ 4707650 w 6957353"/>
                <a:gd name="connsiteY4" fmla="*/ 562 h 239932"/>
                <a:gd name="connsiteX5" fmla="*/ 0 w 6957353"/>
                <a:gd name="connsiteY5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957353 w 6957353"/>
                <a:gd name="connsiteY2" fmla="*/ 2381 h 239932"/>
                <a:gd name="connsiteX3" fmla="*/ 6957353 w 6957353"/>
                <a:gd name="connsiteY3" fmla="*/ 0 h 239932"/>
                <a:gd name="connsiteX4" fmla="*/ 4707650 w 6957353"/>
                <a:gd name="connsiteY4" fmla="*/ 562 h 239932"/>
                <a:gd name="connsiteX5" fmla="*/ 0 w 6957353"/>
                <a:gd name="connsiteY5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5766567 w 6957353"/>
                <a:gd name="connsiteY2" fmla="*/ 123825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4958 w 6957353"/>
                <a:gd name="connsiteY2" fmla="*/ 4762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4958 w 6957353"/>
                <a:gd name="connsiteY2" fmla="*/ 4762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2610 w 6957353"/>
                <a:gd name="connsiteY2" fmla="*/ 7143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10497 h 249457"/>
                <a:gd name="connsiteX1" fmla="*/ 4587596 w 6957353"/>
                <a:gd name="connsiteY1" fmla="*/ 249457 h 249457"/>
                <a:gd name="connsiteX2" fmla="*/ 4702610 w 6957353"/>
                <a:gd name="connsiteY2" fmla="*/ 16668 h 249457"/>
                <a:gd name="connsiteX3" fmla="*/ 6957353 w 6957353"/>
                <a:gd name="connsiteY3" fmla="*/ 11906 h 249457"/>
                <a:gd name="connsiteX4" fmla="*/ 6955005 w 6957353"/>
                <a:gd name="connsiteY4" fmla="*/ 0 h 249457"/>
                <a:gd name="connsiteX5" fmla="*/ 4707650 w 6957353"/>
                <a:gd name="connsiteY5" fmla="*/ 10087 h 249457"/>
                <a:gd name="connsiteX6" fmla="*/ 0 w 6957353"/>
                <a:gd name="connsiteY6" fmla="*/ 10497 h 249457"/>
                <a:gd name="connsiteX0" fmla="*/ 0 w 6957353"/>
                <a:gd name="connsiteY0" fmla="*/ 10497 h 249457"/>
                <a:gd name="connsiteX1" fmla="*/ 4587596 w 6957353"/>
                <a:gd name="connsiteY1" fmla="*/ 249457 h 249457"/>
                <a:gd name="connsiteX2" fmla="*/ 4702610 w 6957353"/>
                <a:gd name="connsiteY2" fmla="*/ 16668 h 249457"/>
                <a:gd name="connsiteX3" fmla="*/ 6957353 w 6957353"/>
                <a:gd name="connsiteY3" fmla="*/ 16668 h 249457"/>
                <a:gd name="connsiteX4" fmla="*/ 6955005 w 6957353"/>
                <a:gd name="connsiteY4" fmla="*/ 0 h 249457"/>
                <a:gd name="connsiteX5" fmla="*/ 4707650 w 6957353"/>
                <a:gd name="connsiteY5" fmla="*/ 10087 h 249457"/>
                <a:gd name="connsiteX6" fmla="*/ 0 w 6957353"/>
                <a:gd name="connsiteY6" fmla="*/ 10497 h 249457"/>
                <a:gd name="connsiteX0" fmla="*/ 0 w 6957354"/>
                <a:gd name="connsiteY0" fmla="*/ 5734 h 244694"/>
                <a:gd name="connsiteX1" fmla="*/ 4587596 w 6957354"/>
                <a:gd name="connsiteY1" fmla="*/ 244694 h 244694"/>
                <a:gd name="connsiteX2" fmla="*/ 4702610 w 6957354"/>
                <a:gd name="connsiteY2" fmla="*/ 11905 h 244694"/>
                <a:gd name="connsiteX3" fmla="*/ 6957353 w 6957354"/>
                <a:gd name="connsiteY3" fmla="*/ 11905 h 244694"/>
                <a:gd name="connsiteX4" fmla="*/ 6957354 w 6957354"/>
                <a:gd name="connsiteY4" fmla="*/ 0 h 244694"/>
                <a:gd name="connsiteX5" fmla="*/ 4707650 w 6957354"/>
                <a:gd name="connsiteY5" fmla="*/ 5324 h 244694"/>
                <a:gd name="connsiteX6" fmla="*/ 0 w 6957354"/>
                <a:gd name="connsiteY6" fmla="*/ 5734 h 244694"/>
                <a:gd name="connsiteX0" fmla="*/ 0 w 6959702"/>
                <a:gd name="connsiteY0" fmla="*/ 3353 h 242313"/>
                <a:gd name="connsiteX1" fmla="*/ 4587596 w 6959702"/>
                <a:gd name="connsiteY1" fmla="*/ 242313 h 242313"/>
                <a:gd name="connsiteX2" fmla="*/ 4702610 w 6959702"/>
                <a:gd name="connsiteY2" fmla="*/ 9524 h 242313"/>
                <a:gd name="connsiteX3" fmla="*/ 6957353 w 6959702"/>
                <a:gd name="connsiteY3" fmla="*/ 9524 h 242313"/>
                <a:gd name="connsiteX4" fmla="*/ 6959702 w 6959702"/>
                <a:gd name="connsiteY4" fmla="*/ 0 h 242313"/>
                <a:gd name="connsiteX5" fmla="*/ 4707650 w 6959702"/>
                <a:gd name="connsiteY5" fmla="*/ 2943 h 242313"/>
                <a:gd name="connsiteX6" fmla="*/ 0 w 6959702"/>
                <a:gd name="connsiteY6" fmla="*/ 3353 h 242313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7353"/>
                <a:gd name="connsiteY0" fmla="*/ 971 h 239931"/>
                <a:gd name="connsiteX1" fmla="*/ 4587596 w 6957353"/>
                <a:gd name="connsiteY1" fmla="*/ 239931 h 239931"/>
                <a:gd name="connsiteX2" fmla="*/ 4702610 w 6957353"/>
                <a:gd name="connsiteY2" fmla="*/ 7142 h 239931"/>
                <a:gd name="connsiteX3" fmla="*/ 6957353 w 6957353"/>
                <a:gd name="connsiteY3" fmla="*/ 7142 h 239931"/>
                <a:gd name="connsiteX4" fmla="*/ 6955004 w 6957353"/>
                <a:gd name="connsiteY4" fmla="*/ 0 h 239931"/>
                <a:gd name="connsiteX5" fmla="*/ 4707650 w 6957353"/>
                <a:gd name="connsiteY5" fmla="*/ 561 h 239931"/>
                <a:gd name="connsiteX6" fmla="*/ 0 w 6957353"/>
                <a:gd name="connsiteY6" fmla="*/ 971 h 239931"/>
                <a:gd name="connsiteX0" fmla="*/ 0 w 6957353"/>
                <a:gd name="connsiteY0" fmla="*/ 971 h 239931"/>
                <a:gd name="connsiteX1" fmla="*/ 4587596 w 6957353"/>
                <a:gd name="connsiteY1" fmla="*/ 239931 h 239931"/>
                <a:gd name="connsiteX2" fmla="*/ 4702610 w 6957353"/>
                <a:gd name="connsiteY2" fmla="*/ 7142 h 239931"/>
                <a:gd name="connsiteX3" fmla="*/ 6957353 w 6957353"/>
                <a:gd name="connsiteY3" fmla="*/ 7142 h 239931"/>
                <a:gd name="connsiteX4" fmla="*/ 6957353 w 6957353"/>
                <a:gd name="connsiteY4" fmla="*/ 0 h 239931"/>
                <a:gd name="connsiteX5" fmla="*/ 4707650 w 6957353"/>
                <a:gd name="connsiteY5" fmla="*/ 561 h 239931"/>
                <a:gd name="connsiteX6" fmla="*/ 0 w 6957353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62050"/>
                <a:gd name="connsiteY0" fmla="*/ 971 h 239931"/>
                <a:gd name="connsiteX1" fmla="*/ 4587596 w 6962050"/>
                <a:gd name="connsiteY1" fmla="*/ 239931 h 239931"/>
                <a:gd name="connsiteX2" fmla="*/ 4702610 w 6962050"/>
                <a:gd name="connsiteY2" fmla="*/ 7142 h 239931"/>
                <a:gd name="connsiteX3" fmla="*/ 6957353 w 6962050"/>
                <a:gd name="connsiteY3" fmla="*/ 7142 h 239931"/>
                <a:gd name="connsiteX4" fmla="*/ 6962050 w 6962050"/>
                <a:gd name="connsiteY4" fmla="*/ 0 h 239931"/>
                <a:gd name="connsiteX5" fmla="*/ 4707650 w 6962050"/>
                <a:gd name="connsiteY5" fmla="*/ 561 h 239931"/>
                <a:gd name="connsiteX6" fmla="*/ 0 w 6962050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9702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59702" h="239931">
                  <a:moveTo>
                    <a:pt x="0" y="971"/>
                  </a:moveTo>
                  <a:lnTo>
                    <a:pt x="4587596" y="239931"/>
                  </a:lnTo>
                  <a:lnTo>
                    <a:pt x="4702610" y="7142"/>
                  </a:lnTo>
                  <a:lnTo>
                    <a:pt x="6959702" y="7142"/>
                  </a:lnTo>
                  <a:lnTo>
                    <a:pt x="6959702" y="0"/>
                  </a:lnTo>
                  <a:lnTo>
                    <a:pt x="4707650" y="561"/>
                  </a:lnTo>
                  <a:lnTo>
                    <a:pt x="0" y="971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pic>
          <p:nvPicPr>
            <p:cNvPr id="18" name="Obrázek 17">
              <a:extLst>
                <a:ext uri="{FF2B5EF4-FFF2-40B4-BE49-F238E27FC236}">
                  <a16:creationId xmlns:a16="http://schemas.microsoft.com/office/drawing/2014/main" id="{1B1D0EB9-E476-4B6C-A6A2-D8C41FE9813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5537224"/>
              <a:ext cx="1726779" cy="360000"/>
            </a:xfrm>
            <a:prstGeom prst="rect">
              <a:avLst/>
            </a:prstGeom>
          </p:spPr>
        </p:pic>
      </p:grp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A694996B-BAAC-4EA5-94F4-6F38D7F2BD5A}"/>
              </a:ext>
            </a:extLst>
          </p:cNvPr>
          <p:cNvSpPr txBox="1"/>
          <p:nvPr userDrawn="1"/>
        </p:nvSpPr>
        <p:spPr>
          <a:xfrm>
            <a:off x="7560000" y="7354800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noProof="0" dirty="0"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9860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36" r:id="rId2"/>
    <p:sldLayoutId id="214748373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5531154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délník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cs-CZ" sz="2800" b="1" i="0" baseline="0" dirty="0">
              <a:latin typeface="SKODA Next" panose="020B0504020603020204" pitchFamily="34" charset="0"/>
              <a:ea typeface="Verdana" panose="020B0604030504040204" pitchFamily="34" charset="0"/>
              <a:cs typeface="Verdana" panose="020B0604030504040204" pitchFamily="34" charset="0"/>
              <a:sym typeface="SKODA Next" panose="020B0504020603020204" pitchFamily="34" charset="0"/>
            </a:endParaRP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1AAF0889-FDBF-4DFF-ACA1-BAEC4C69CE79}"/>
              </a:ext>
            </a:extLst>
          </p:cNvPr>
          <p:cNvGrpSpPr/>
          <p:nvPr userDrawn="1"/>
        </p:nvGrpSpPr>
        <p:grpSpPr>
          <a:xfrm>
            <a:off x="0" y="6962400"/>
            <a:ext cx="10691814" cy="599982"/>
            <a:chOff x="0" y="5414400"/>
            <a:chExt cx="10691814" cy="599982"/>
          </a:xfrm>
        </p:grpSpPr>
        <p:sp>
          <p:nvSpPr>
            <p:cNvPr id="15" name="Volný tvar 15">
              <a:extLst>
                <a:ext uri="{FF2B5EF4-FFF2-40B4-BE49-F238E27FC236}">
                  <a16:creationId xmlns:a16="http://schemas.microsoft.com/office/drawing/2014/main" id="{BA4AB6A5-9F6F-458D-B3B5-6ECEBC92D6E0}"/>
                </a:ext>
              </a:extLst>
            </p:cNvPr>
            <p:cNvSpPr/>
            <p:nvPr userDrawn="1"/>
          </p:nvSpPr>
          <p:spPr>
            <a:xfrm>
              <a:off x="0" y="5414400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sp>
          <p:nvSpPr>
            <p:cNvPr id="16" name="Volný tvar 16">
              <a:extLst>
                <a:ext uri="{FF2B5EF4-FFF2-40B4-BE49-F238E27FC236}">
                  <a16:creationId xmlns:a16="http://schemas.microsoft.com/office/drawing/2014/main" id="{B7E2D332-D7D4-4303-A782-72D9C528B7D9}"/>
                </a:ext>
              </a:extLst>
            </p:cNvPr>
            <p:cNvSpPr/>
            <p:nvPr userDrawn="1"/>
          </p:nvSpPr>
          <p:spPr>
            <a:xfrm>
              <a:off x="1907202" y="5657276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sp>
          <p:nvSpPr>
            <p:cNvPr id="17" name="Volný tvar 17">
              <a:extLst>
                <a:ext uri="{FF2B5EF4-FFF2-40B4-BE49-F238E27FC236}">
                  <a16:creationId xmlns:a16="http://schemas.microsoft.com/office/drawing/2014/main" id="{37CEC2A0-13CA-42C8-9C01-772F927A4325}"/>
                </a:ext>
              </a:extLst>
            </p:cNvPr>
            <p:cNvSpPr/>
            <p:nvPr userDrawn="1"/>
          </p:nvSpPr>
          <p:spPr>
            <a:xfrm>
              <a:off x="3635637" y="5417345"/>
              <a:ext cx="7056177" cy="239931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693213 w 4707650"/>
                <a:gd name="connsiteY2" fmla="*/ 25632 h 239370"/>
                <a:gd name="connsiteX3" fmla="*/ 4707650 w 4707650"/>
                <a:gd name="connsiteY3" fmla="*/ 0 h 239370"/>
                <a:gd name="connsiteX4" fmla="*/ 0 w 4707650"/>
                <a:gd name="connsiteY4" fmla="*/ 410 h 239370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957353 w 6957353"/>
                <a:gd name="connsiteY2" fmla="*/ 0 h 239932"/>
                <a:gd name="connsiteX3" fmla="*/ 4707650 w 6957353"/>
                <a:gd name="connsiteY3" fmla="*/ 562 h 239932"/>
                <a:gd name="connsiteX4" fmla="*/ 0 w 6957353"/>
                <a:gd name="connsiteY4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041363 w 6957353"/>
                <a:gd name="connsiteY2" fmla="*/ 92869 h 239932"/>
                <a:gd name="connsiteX3" fmla="*/ 6957353 w 6957353"/>
                <a:gd name="connsiteY3" fmla="*/ 0 h 239932"/>
                <a:gd name="connsiteX4" fmla="*/ 4707650 w 6957353"/>
                <a:gd name="connsiteY4" fmla="*/ 562 h 239932"/>
                <a:gd name="connsiteX5" fmla="*/ 0 w 6957353"/>
                <a:gd name="connsiteY5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957353 w 6957353"/>
                <a:gd name="connsiteY2" fmla="*/ 2381 h 239932"/>
                <a:gd name="connsiteX3" fmla="*/ 6957353 w 6957353"/>
                <a:gd name="connsiteY3" fmla="*/ 0 h 239932"/>
                <a:gd name="connsiteX4" fmla="*/ 4707650 w 6957353"/>
                <a:gd name="connsiteY4" fmla="*/ 562 h 239932"/>
                <a:gd name="connsiteX5" fmla="*/ 0 w 6957353"/>
                <a:gd name="connsiteY5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5766567 w 6957353"/>
                <a:gd name="connsiteY2" fmla="*/ 123825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4958 w 6957353"/>
                <a:gd name="connsiteY2" fmla="*/ 4762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4958 w 6957353"/>
                <a:gd name="connsiteY2" fmla="*/ 4762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2610 w 6957353"/>
                <a:gd name="connsiteY2" fmla="*/ 7143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10497 h 249457"/>
                <a:gd name="connsiteX1" fmla="*/ 4587596 w 6957353"/>
                <a:gd name="connsiteY1" fmla="*/ 249457 h 249457"/>
                <a:gd name="connsiteX2" fmla="*/ 4702610 w 6957353"/>
                <a:gd name="connsiteY2" fmla="*/ 16668 h 249457"/>
                <a:gd name="connsiteX3" fmla="*/ 6957353 w 6957353"/>
                <a:gd name="connsiteY3" fmla="*/ 11906 h 249457"/>
                <a:gd name="connsiteX4" fmla="*/ 6955005 w 6957353"/>
                <a:gd name="connsiteY4" fmla="*/ 0 h 249457"/>
                <a:gd name="connsiteX5" fmla="*/ 4707650 w 6957353"/>
                <a:gd name="connsiteY5" fmla="*/ 10087 h 249457"/>
                <a:gd name="connsiteX6" fmla="*/ 0 w 6957353"/>
                <a:gd name="connsiteY6" fmla="*/ 10497 h 249457"/>
                <a:gd name="connsiteX0" fmla="*/ 0 w 6957353"/>
                <a:gd name="connsiteY0" fmla="*/ 10497 h 249457"/>
                <a:gd name="connsiteX1" fmla="*/ 4587596 w 6957353"/>
                <a:gd name="connsiteY1" fmla="*/ 249457 h 249457"/>
                <a:gd name="connsiteX2" fmla="*/ 4702610 w 6957353"/>
                <a:gd name="connsiteY2" fmla="*/ 16668 h 249457"/>
                <a:gd name="connsiteX3" fmla="*/ 6957353 w 6957353"/>
                <a:gd name="connsiteY3" fmla="*/ 16668 h 249457"/>
                <a:gd name="connsiteX4" fmla="*/ 6955005 w 6957353"/>
                <a:gd name="connsiteY4" fmla="*/ 0 h 249457"/>
                <a:gd name="connsiteX5" fmla="*/ 4707650 w 6957353"/>
                <a:gd name="connsiteY5" fmla="*/ 10087 h 249457"/>
                <a:gd name="connsiteX6" fmla="*/ 0 w 6957353"/>
                <a:gd name="connsiteY6" fmla="*/ 10497 h 249457"/>
                <a:gd name="connsiteX0" fmla="*/ 0 w 6957354"/>
                <a:gd name="connsiteY0" fmla="*/ 5734 h 244694"/>
                <a:gd name="connsiteX1" fmla="*/ 4587596 w 6957354"/>
                <a:gd name="connsiteY1" fmla="*/ 244694 h 244694"/>
                <a:gd name="connsiteX2" fmla="*/ 4702610 w 6957354"/>
                <a:gd name="connsiteY2" fmla="*/ 11905 h 244694"/>
                <a:gd name="connsiteX3" fmla="*/ 6957353 w 6957354"/>
                <a:gd name="connsiteY3" fmla="*/ 11905 h 244694"/>
                <a:gd name="connsiteX4" fmla="*/ 6957354 w 6957354"/>
                <a:gd name="connsiteY4" fmla="*/ 0 h 244694"/>
                <a:gd name="connsiteX5" fmla="*/ 4707650 w 6957354"/>
                <a:gd name="connsiteY5" fmla="*/ 5324 h 244694"/>
                <a:gd name="connsiteX6" fmla="*/ 0 w 6957354"/>
                <a:gd name="connsiteY6" fmla="*/ 5734 h 244694"/>
                <a:gd name="connsiteX0" fmla="*/ 0 w 6959702"/>
                <a:gd name="connsiteY0" fmla="*/ 3353 h 242313"/>
                <a:gd name="connsiteX1" fmla="*/ 4587596 w 6959702"/>
                <a:gd name="connsiteY1" fmla="*/ 242313 h 242313"/>
                <a:gd name="connsiteX2" fmla="*/ 4702610 w 6959702"/>
                <a:gd name="connsiteY2" fmla="*/ 9524 h 242313"/>
                <a:gd name="connsiteX3" fmla="*/ 6957353 w 6959702"/>
                <a:gd name="connsiteY3" fmla="*/ 9524 h 242313"/>
                <a:gd name="connsiteX4" fmla="*/ 6959702 w 6959702"/>
                <a:gd name="connsiteY4" fmla="*/ 0 h 242313"/>
                <a:gd name="connsiteX5" fmla="*/ 4707650 w 6959702"/>
                <a:gd name="connsiteY5" fmla="*/ 2943 h 242313"/>
                <a:gd name="connsiteX6" fmla="*/ 0 w 6959702"/>
                <a:gd name="connsiteY6" fmla="*/ 3353 h 242313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7353"/>
                <a:gd name="connsiteY0" fmla="*/ 971 h 239931"/>
                <a:gd name="connsiteX1" fmla="*/ 4587596 w 6957353"/>
                <a:gd name="connsiteY1" fmla="*/ 239931 h 239931"/>
                <a:gd name="connsiteX2" fmla="*/ 4702610 w 6957353"/>
                <a:gd name="connsiteY2" fmla="*/ 7142 h 239931"/>
                <a:gd name="connsiteX3" fmla="*/ 6957353 w 6957353"/>
                <a:gd name="connsiteY3" fmla="*/ 7142 h 239931"/>
                <a:gd name="connsiteX4" fmla="*/ 6955004 w 6957353"/>
                <a:gd name="connsiteY4" fmla="*/ 0 h 239931"/>
                <a:gd name="connsiteX5" fmla="*/ 4707650 w 6957353"/>
                <a:gd name="connsiteY5" fmla="*/ 561 h 239931"/>
                <a:gd name="connsiteX6" fmla="*/ 0 w 6957353"/>
                <a:gd name="connsiteY6" fmla="*/ 971 h 239931"/>
                <a:gd name="connsiteX0" fmla="*/ 0 w 6957353"/>
                <a:gd name="connsiteY0" fmla="*/ 971 h 239931"/>
                <a:gd name="connsiteX1" fmla="*/ 4587596 w 6957353"/>
                <a:gd name="connsiteY1" fmla="*/ 239931 h 239931"/>
                <a:gd name="connsiteX2" fmla="*/ 4702610 w 6957353"/>
                <a:gd name="connsiteY2" fmla="*/ 7142 h 239931"/>
                <a:gd name="connsiteX3" fmla="*/ 6957353 w 6957353"/>
                <a:gd name="connsiteY3" fmla="*/ 7142 h 239931"/>
                <a:gd name="connsiteX4" fmla="*/ 6957353 w 6957353"/>
                <a:gd name="connsiteY4" fmla="*/ 0 h 239931"/>
                <a:gd name="connsiteX5" fmla="*/ 4707650 w 6957353"/>
                <a:gd name="connsiteY5" fmla="*/ 561 h 239931"/>
                <a:gd name="connsiteX6" fmla="*/ 0 w 6957353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62050"/>
                <a:gd name="connsiteY0" fmla="*/ 971 h 239931"/>
                <a:gd name="connsiteX1" fmla="*/ 4587596 w 6962050"/>
                <a:gd name="connsiteY1" fmla="*/ 239931 h 239931"/>
                <a:gd name="connsiteX2" fmla="*/ 4702610 w 6962050"/>
                <a:gd name="connsiteY2" fmla="*/ 7142 h 239931"/>
                <a:gd name="connsiteX3" fmla="*/ 6957353 w 6962050"/>
                <a:gd name="connsiteY3" fmla="*/ 7142 h 239931"/>
                <a:gd name="connsiteX4" fmla="*/ 6962050 w 6962050"/>
                <a:gd name="connsiteY4" fmla="*/ 0 h 239931"/>
                <a:gd name="connsiteX5" fmla="*/ 4707650 w 6962050"/>
                <a:gd name="connsiteY5" fmla="*/ 561 h 239931"/>
                <a:gd name="connsiteX6" fmla="*/ 0 w 6962050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9702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59702" h="239931">
                  <a:moveTo>
                    <a:pt x="0" y="971"/>
                  </a:moveTo>
                  <a:lnTo>
                    <a:pt x="4587596" y="239931"/>
                  </a:lnTo>
                  <a:lnTo>
                    <a:pt x="4702610" y="7142"/>
                  </a:lnTo>
                  <a:lnTo>
                    <a:pt x="6959702" y="7142"/>
                  </a:lnTo>
                  <a:lnTo>
                    <a:pt x="6959702" y="0"/>
                  </a:lnTo>
                  <a:lnTo>
                    <a:pt x="4707650" y="561"/>
                  </a:lnTo>
                  <a:lnTo>
                    <a:pt x="0" y="971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pic>
          <p:nvPicPr>
            <p:cNvPr id="18" name="Obrázek 17">
              <a:extLst>
                <a:ext uri="{FF2B5EF4-FFF2-40B4-BE49-F238E27FC236}">
                  <a16:creationId xmlns:a16="http://schemas.microsoft.com/office/drawing/2014/main" id="{445686C8-CB2A-4470-9817-619134F2FA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5537224"/>
              <a:ext cx="1726779" cy="360000"/>
            </a:xfrm>
            <a:prstGeom prst="rect">
              <a:avLst/>
            </a:prstGeom>
          </p:spPr>
        </p:pic>
      </p:grp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E61D6C51-DB4C-45A3-A989-A051A82B906B}"/>
              </a:ext>
            </a:extLst>
          </p:cNvPr>
          <p:cNvSpPr txBox="1"/>
          <p:nvPr userDrawn="1"/>
        </p:nvSpPr>
        <p:spPr>
          <a:xfrm>
            <a:off x="7560000" y="7354800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noProof="0" dirty="0"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37" r:id="rId2"/>
    <p:sldLayoutId id="2147483686" r:id="rId3"/>
    <p:sldLayoutId id="2147483691" r:id="rId4"/>
    <p:sldLayoutId id="2147483692" r:id="rId5"/>
    <p:sldLayoutId id="2147483687" r:id="rId6"/>
    <p:sldLayoutId id="2147483688" r:id="rId7"/>
    <p:sldLayoutId id="2147483690" r:id="rId8"/>
    <p:sldLayoutId id="2147483689" r:id="rId9"/>
    <p:sldLayoutId id="2147483685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508800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4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délník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cs-CZ" sz="2800" b="1" i="0" baseline="0" dirty="0">
              <a:latin typeface="SKODA Next" panose="020B0504020603020204" pitchFamily="34" charset="0"/>
              <a:ea typeface="Verdana" panose="020B0604030504040204" pitchFamily="34" charset="0"/>
              <a:cs typeface="Verdana" panose="020B0604030504040204" pitchFamily="34" charset="0"/>
              <a:sym typeface="SKODA Next" panose="020B0504020603020204" pitchFamily="34" charset="0"/>
            </a:endParaRP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7BB90034-61B6-42EC-8923-68004DB73CCB}"/>
              </a:ext>
            </a:extLst>
          </p:cNvPr>
          <p:cNvGrpSpPr/>
          <p:nvPr userDrawn="1"/>
        </p:nvGrpSpPr>
        <p:grpSpPr>
          <a:xfrm>
            <a:off x="0" y="6962400"/>
            <a:ext cx="10691814" cy="599982"/>
            <a:chOff x="0" y="5414400"/>
            <a:chExt cx="10691814" cy="599982"/>
          </a:xfrm>
        </p:grpSpPr>
        <p:sp>
          <p:nvSpPr>
            <p:cNvPr id="15" name="Volný tvar 15">
              <a:extLst>
                <a:ext uri="{FF2B5EF4-FFF2-40B4-BE49-F238E27FC236}">
                  <a16:creationId xmlns:a16="http://schemas.microsoft.com/office/drawing/2014/main" id="{295C2CC2-5F35-428F-9DF3-B68230A59C03}"/>
                </a:ext>
              </a:extLst>
            </p:cNvPr>
            <p:cNvSpPr/>
            <p:nvPr userDrawn="1"/>
          </p:nvSpPr>
          <p:spPr>
            <a:xfrm>
              <a:off x="0" y="5414400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sp>
          <p:nvSpPr>
            <p:cNvPr id="16" name="Volný tvar 16">
              <a:extLst>
                <a:ext uri="{FF2B5EF4-FFF2-40B4-BE49-F238E27FC236}">
                  <a16:creationId xmlns:a16="http://schemas.microsoft.com/office/drawing/2014/main" id="{578EF6BE-61D3-4D3F-AF2E-6E819BBB0350}"/>
                </a:ext>
              </a:extLst>
            </p:cNvPr>
            <p:cNvSpPr/>
            <p:nvPr userDrawn="1"/>
          </p:nvSpPr>
          <p:spPr>
            <a:xfrm>
              <a:off x="1907202" y="5657276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sp>
          <p:nvSpPr>
            <p:cNvPr id="17" name="Volný tvar 17">
              <a:extLst>
                <a:ext uri="{FF2B5EF4-FFF2-40B4-BE49-F238E27FC236}">
                  <a16:creationId xmlns:a16="http://schemas.microsoft.com/office/drawing/2014/main" id="{43876A6C-0269-4957-8AE3-6D1C1F23FCE5}"/>
                </a:ext>
              </a:extLst>
            </p:cNvPr>
            <p:cNvSpPr/>
            <p:nvPr userDrawn="1"/>
          </p:nvSpPr>
          <p:spPr>
            <a:xfrm>
              <a:off x="3635637" y="5417345"/>
              <a:ext cx="7056177" cy="239931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693213 w 4707650"/>
                <a:gd name="connsiteY2" fmla="*/ 25632 h 239370"/>
                <a:gd name="connsiteX3" fmla="*/ 4707650 w 4707650"/>
                <a:gd name="connsiteY3" fmla="*/ 0 h 239370"/>
                <a:gd name="connsiteX4" fmla="*/ 0 w 4707650"/>
                <a:gd name="connsiteY4" fmla="*/ 410 h 239370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957353 w 6957353"/>
                <a:gd name="connsiteY2" fmla="*/ 0 h 239932"/>
                <a:gd name="connsiteX3" fmla="*/ 4707650 w 6957353"/>
                <a:gd name="connsiteY3" fmla="*/ 562 h 239932"/>
                <a:gd name="connsiteX4" fmla="*/ 0 w 6957353"/>
                <a:gd name="connsiteY4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041363 w 6957353"/>
                <a:gd name="connsiteY2" fmla="*/ 92869 h 239932"/>
                <a:gd name="connsiteX3" fmla="*/ 6957353 w 6957353"/>
                <a:gd name="connsiteY3" fmla="*/ 0 h 239932"/>
                <a:gd name="connsiteX4" fmla="*/ 4707650 w 6957353"/>
                <a:gd name="connsiteY4" fmla="*/ 562 h 239932"/>
                <a:gd name="connsiteX5" fmla="*/ 0 w 6957353"/>
                <a:gd name="connsiteY5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957353 w 6957353"/>
                <a:gd name="connsiteY2" fmla="*/ 2381 h 239932"/>
                <a:gd name="connsiteX3" fmla="*/ 6957353 w 6957353"/>
                <a:gd name="connsiteY3" fmla="*/ 0 h 239932"/>
                <a:gd name="connsiteX4" fmla="*/ 4707650 w 6957353"/>
                <a:gd name="connsiteY4" fmla="*/ 562 h 239932"/>
                <a:gd name="connsiteX5" fmla="*/ 0 w 6957353"/>
                <a:gd name="connsiteY5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5766567 w 6957353"/>
                <a:gd name="connsiteY2" fmla="*/ 123825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4958 w 6957353"/>
                <a:gd name="connsiteY2" fmla="*/ 4762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4958 w 6957353"/>
                <a:gd name="connsiteY2" fmla="*/ 4762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2610 w 6957353"/>
                <a:gd name="connsiteY2" fmla="*/ 7143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10497 h 249457"/>
                <a:gd name="connsiteX1" fmla="*/ 4587596 w 6957353"/>
                <a:gd name="connsiteY1" fmla="*/ 249457 h 249457"/>
                <a:gd name="connsiteX2" fmla="*/ 4702610 w 6957353"/>
                <a:gd name="connsiteY2" fmla="*/ 16668 h 249457"/>
                <a:gd name="connsiteX3" fmla="*/ 6957353 w 6957353"/>
                <a:gd name="connsiteY3" fmla="*/ 11906 h 249457"/>
                <a:gd name="connsiteX4" fmla="*/ 6955005 w 6957353"/>
                <a:gd name="connsiteY4" fmla="*/ 0 h 249457"/>
                <a:gd name="connsiteX5" fmla="*/ 4707650 w 6957353"/>
                <a:gd name="connsiteY5" fmla="*/ 10087 h 249457"/>
                <a:gd name="connsiteX6" fmla="*/ 0 w 6957353"/>
                <a:gd name="connsiteY6" fmla="*/ 10497 h 249457"/>
                <a:gd name="connsiteX0" fmla="*/ 0 w 6957353"/>
                <a:gd name="connsiteY0" fmla="*/ 10497 h 249457"/>
                <a:gd name="connsiteX1" fmla="*/ 4587596 w 6957353"/>
                <a:gd name="connsiteY1" fmla="*/ 249457 h 249457"/>
                <a:gd name="connsiteX2" fmla="*/ 4702610 w 6957353"/>
                <a:gd name="connsiteY2" fmla="*/ 16668 h 249457"/>
                <a:gd name="connsiteX3" fmla="*/ 6957353 w 6957353"/>
                <a:gd name="connsiteY3" fmla="*/ 16668 h 249457"/>
                <a:gd name="connsiteX4" fmla="*/ 6955005 w 6957353"/>
                <a:gd name="connsiteY4" fmla="*/ 0 h 249457"/>
                <a:gd name="connsiteX5" fmla="*/ 4707650 w 6957353"/>
                <a:gd name="connsiteY5" fmla="*/ 10087 h 249457"/>
                <a:gd name="connsiteX6" fmla="*/ 0 w 6957353"/>
                <a:gd name="connsiteY6" fmla="*/ 10497 h 249457"/>
                <a:gd name="connsiteX0" fmla="*/ 0 w 6957354"/>
                <a:gd name="connsiteY0" fmla="*/ 5734 h 244694"/>
                <a:gd name="connsiteX1" fmla="*/ 4587596 w 6957354"/>
                <a:gd name="connsiteY1" fmla="*/ 244694 h 244694"/>
                <a:gd name="connsiteX2" fmla="*/ 4702610 w 6957354"/>
                <a:gd name="connsiteY2" fmla="*/ 11905 h 244694"/>
                <a:gd name="connsiteX3" fmla="*/ 6957353 w 6957354"/>
                <a:gd name="connsiteY3" fmla="*/ 11905 h 244694"/>
                <a:gd name="connsiteX4" fmla="*/ 6957354 w 6957354"/>
                <a:gd name="connsiteY4" fmla="*/ 0 h 244694"/>
                <a:gd name="connsiteX5" fmla="*/ 4707650 w 6957354"/>
                <a:gd name="connsiteY5" fmla="*/ 5324 h 244694"/>
                <a:gd name="connsiteX6" fmla="*/ 0 w 6957354"/>
                <a:gd name="connsiteY6" fmla="*/ 5734 h 244694"/>
                <a:gd name="connsiteX0" fmla="*/ 0 w 6959702"/>
                <a:gd name="connsiteY0" fmla="*/ 3353 h 242313"/>
                <a:gd name="connsiteX1" fmla="*/ 4587596 w 6959702"/>
                <a:gd name="connsiteY1" fmla="*/ 242313 h 242313"/>
                <a:gd name="connsiteX2" fmla="*/ 4702610 w 6959702"/>
                <a:gd name="connsiteY2" fmla="*/ 9524 h 242313"/>
                <a:gd name="connsiteX3" fmla="*/ 6957353 w 6959702"/>
                <a:gd name="connsiteY3" fmla="*/ 9524 h 242313"/>
                <a:gd name="connsiteX4" fmla="*/ 6959702 w 6959702"/>
                <a:gd name="connsiteY4" fmla="*/ 0 h 242313"/>
                <a:gd name="connsiteX5" fmla="*/ 4707650 w 6959702"/>
                <a:gd name="connsiteY5" fmla="*/ 2943 h 242313"/>
                <a:gd name="connsiteX6" fmla="*/ 0 w 6959702"/>
                <a:gd name="connsiteY6" fmla="*/ 3353 h 242313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7353"/>
                <a:gd name="connsiteY0" fmla="*/ 971 h 239931"/>
                <a:gd name="connsiteX1" fmla="*/ 4587596 w 6957353"/>
                <a:gd name="connsiteY1" fmla="*/ 239931 h 239931"/>
                <a:gd name="connsiteX2" fmla="*/ 4702610 w 6957353"/>
                <a:gd name="connsiteY2" fmla="*/ 7142 h 239931"/>
                <a:gd name="connsiteX3" fmla="*/ 6957353 w 6957353"/>
                <a:gd name="connsiteY3" fmla="*/ 7142 h 239931"/>
                <a:gd name="connsiteX4" fmla="*/ 6955004 w 6957353"/>
                <a:gd name="connsiteY4" fmla="*/ 0 h 239931"/>
                <a:gd name="connsiteX5" fmla="*/ 4707650 w 6957353"/>
                <a:gd name="connsiteY5" fmla="*/ 561 h 239931"/>
                <a:gd name="connsiteX6" fmla="*/ 0 w 6957353"/>
                <a:gd name="connsiteY6" fmla="*/ 971 h 239931"/>
                <a:gd name="connsiteX0" fmla="*/ 0 w 6957353"/>
                <a:gd name="connsiteY0" fmla="*/ 971 h 239931"/>
                <a:gd name="connsiteX1" fmla="*/ 4587596 w 6957353"/>
                <a:gd name="connsiteY1" fmla="*/ 239931 h 239931"/>
                <a:gd name="connsiteX2" fmla="*/ 4702610 w 6957353"/>
                <a:gd name="connsiteY2" fmla="*/ 7142 h 239931"/>
                <a:gd name="connsiteX3" fmla="*/ 6957353 w 6957353"/>
                <a:gd name="connsiteY3" fmla="*/ 7142 h 239931"/>
                <a:gd name="connsiteX4" fmla="*/ 6957353 w 6957353"/>
                <a:gd name="connsiteY4" fmla="*/ 0 h 239931"/>
                <a:gd name="connsiteX5" fmla="*/ 4707650 w 6957353"/>
                <a:gd name="connsiteY5" fmla="*/ 561 h 239931"/>
                <a:gd name="connsiteX6" fmla="*/ 0 w 6957353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62050"/>
                <a:gd name="connsiteY0" fmla="*/ 971 h 239931"/>
                <a:gd name="connsiteX1" fmla="*/ 4587596 w 6962050"/>
                <a:gd name="connsiteY1" fmla="*/ 239931 h 239931"/>
                <a:gd name="connsiteX2" fmla="*/ 4702610 w 6962050"/>
                <a:gd name="connsiteY2" fmla="*/ 7142 h 239931"/>
                <a:gd name="connsiteX3" fmla="*/ 6957353 w 6962050"/>
                <a:gd name="connsiteY3" fmla="*/ 7142 h 239931"/>
                <a:gd name="connsiteX4" fmla="*/ 6962050 w 6962050"/>
                <a:gd name="connsiteY4" fmla="*/ 0 h 239931"/>
                <a:gd name="connsiteX5" fmla="*/ 4707650 w 6962050"/>
                <a:gd name="connsiteY5" fmla="*/ 561 h 239931"/>
                <a:gd name="connsiteX6" fmla="*/ 0 w 6962050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9702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59702" h="239931">
                  <a:moveTo>
                    <a:pt x="0" y="971"/>
                  </a:moveTo>
                  <a:lnTo>
                    <a:pt x="4587596" y="239931"/>
                  </a:lnTo>
                  <a:lnTo>
                    <a:pt x="4702610" y="7142"/>
                  </a:lnTo>
                  <a:lnTo>
                    <a:pt x="6959702" y="7142"/>
                  </a:lnTo>
                  <a:lnTo>
                    <a:pt x="6959702" y="0"/>
                  </a:lnTo>
                  <a:lnTo>
                    <a:pt x="4707650" y="561"/>
                  </a:lnTo>
                  <a:lnTo>
                    <a:pt x="0" y="971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pic>
          <p:nvPicPr>
            <p:cNvPr id="18" name="Obrázek 17">
              <a:extLst>
                <a:ext uri="{FF2B5EF4-FFF2-40B4-BE49-F238E27FC236}">
                  <a16:creationId xmlns:a16="http://schemas.microsoft.com/office/drawing/2014/main" id="{5A027B8B-1519-481A-A495-26C0D78597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5537224"/>
              <a:ext cx="1726779" cy="360000"/>
            </a:xfrm>
            <a:prstGeom prst="rect">
              <a:avLst/>
            </a:prstGeom>
          </p:spPr>
        </p:pic>
      </p:grp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576C531-2DDD-4908-BB0D-345BC78E1BA3}"/>
              </a:ext>
            </a:extLst>
          </p:cNvPr>
          <p:cNvSpPr txBox="1"/>
          <p:nvPr userDrawn="1"/>
        </p:nvSpPr>
        <p:spPr>
          <a:xfrm>
            <a:off x="7560000" y="7354800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noProof="0" dirty="0"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541384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738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789538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2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délník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cs-CZ" sz="2800" b="1" i="0" baseline="0" dirty="0">
              <a:latin typeface="SKODA Next" panose="020B0504020603020204" pitchFamily="34" charset="0"/>
              <a:ea typeface="Verdana" panose="020B0604030504040204" pitchFamily="34" charset="0"/>
              <a:cs typeface="Verdana" panose="020B0604030504040204" pitchFamily="34" charset="0"/>
              <a:sym typeface="SKODA Next" panose="020B0504020603020204" pitchFamily="34" charset="0"/>
            </a:endParaRP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E8B1083F-E5B5-4BA9-A28D-08A5843D19C5}"/>
              </a:ext>
            </a:extLst>
          </p:cNvPr>
          <p:cNvGrpSpPr/>
          <p:nvPr userDrawn="1"/>
        </p:nvGrpSpPr>
        <p:grpSpPr>
          <a:xfrm>
            <a:off x="0" y="6962400"/>
            <a:ext cx="10691814" cy="599982"/>
            <a:chOff x="0" y="5414400"/>
            <a:chExt cx="10691814" cy="599982"/>
          </a:xfrm>
        </p:grpSpPr>
        <p:sp>
          <p:nvSpPr>
            <p:cNvPr id="15" name="Volný tvar 15">
              <a:extLst>
                <a:ext uri="{FF2B5EF4-FFF2-40B4-BE49-F238E27FC236}">
                  <a16:creationId xmlns:a16="http://schemas.microsoft.com/office/drawing/2014/main" id="{66844E23-4DD2-4100-B843-7A4BFDA1F4F7}"/>
                </a:ext>
              </a:extLst>
            </p:cNvPr>
            <p:cNvSpPr/>
            <p:nvPr userDrawn="1"/>
          </p:nvSpPr>
          <p:spPr>
            <a:xfrm>
              <a:off x="0" y="5414400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sp>
          <p:nvSpPr>
            <p:cNvPr id="16" name="Volný tvar 16">
              <a:extLst>
                <a:ext uri="{FF2B5EF4-FFF2-40B4-BE49-F238E27FC236}">
                  <a16:creationId xmlns:a16="http://schemas.microsoft.com/office/drawing/2014/main" id="{125E7274-8459-4B96-9104-8AB3D5013892}"/>
                </a:ext>
              </a:extLst>
            </p:cNvPr>
            <p:cNvSpPr/>
            <p:nvPr userDrawn="1"/>
          </p:nvSpPr>
          <p:spPr>
            <a:xfrm>
              <a:off x="1907202" y="5657276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sp>
          <p:nvSpPr>
            <p:cNvPr id="17" name="Volný tvar 17">
              <a:extLst>
                <a:ext uri="{FF2B5EF4-FFF2-40B4-BE49-F238E27FC236}">
                  <a16:creationId xmlns:a16="http://schemas.microsoft.com/office/drawing/2014/main" id="{680E3299-16EA-4004-AE87-B7B4FEB142A4}"/>
                </a:ext>
              </a:extLst>
            </p:cNvPr>
            <p:cNvSpPr/>
            <p:nvPr userDrawn="1"/>
          </p:nvSpPr>
          <p:spPr>
            <a:xfrm>
              <a:off x="3635637" y="5417345"/>
              <a:ext cx="7056177" cy="239931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693213 w 4707650"/>
                <a:gd name="connsiteY2" fmla="*/ 25632 h 239370"/>
                <a:gd name="connsiteX3" fmla="*/ 4707650 w 4707650"/>
                <a:gd name="connsiteY3" fmla="*/ 0 h 239370"/>
                <a:gd name="connsiteX4" fmla="*/ 0 w 4707650"/>
                <a:gd name="connsiteY4" fmla="*/ 410 h 239370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957353 w 6957353"/>
                <a:gd name="connsiteY2" fmla="*/ 0 h 239932"/>
                <a:gd name="connsiteX3" fmla="*/ 4707650 w 6957353"/>
                <a:gd name="connsiteY3" fmla="*/ 562 h 239932"/>
                <a:gd name="connsiteX4" fmla="*/ 0 w 6957353"/>
                <a:gd name="connsiteY4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041363 w 6957353"/>
                <a:gd name="connsiteY2" fmla="*/ 92869 h 239932"/>
                <a:gd name="connsiteX3" fmla="*/ 6957353 w 6957353"/>
                <a:gd name="connsiteY3" fmla="*/ 0 h 239932"/>
                <a:gd name="connsiteX4" fmla="*/ 4707650 w 6957353"/>
                <a:gd name="connsiteY4" fmla="*/ 562 h 239932"/>
                <a:gd name="connsiteX5" fmla="*/ 0 w 6957353"/>
                <a:gd name="connsiteY5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957353 w 6957353"/>
                <a:gd name="connsiteY2" fmla="*/ 2381 h 239932"/>
                <a:gd name="connsiteX3" fmla="*/ 6957353 w 6957353"/>
                <a:gd name="connsiteY3" fmla="*/ 0 h 239932"/>
                <a:gd name="connsiteX4" fmla="*/ 4707650 w 6957353"/>
                <a:gd name="connsiteY4" fmla="*/ 562 h 239932"/>
                <a:gd name="connsiteX5" fmla="*/ 0 w 6957353"/>
                <a:gd name="connsiteY5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5766567 w 6957353"/>
                <a:gd name="connsiteY2" fmla="*/ 123825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4958 w 6957353"/>
                <a:gd name="connsiteY2" fmla="*/ 4762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4958 w 6957353"/>
                <a:gd name="connsiteY2" fmla="*/ 4762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2610 w 6957353"/>
                <a:gd name="connsiteY2" fmla="*/ 7143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10497 h 249457"/>
                <a:gd name="connsiteX1" fmla="*/ 4587596 w 6957353"/>
                <a:gd name="connsiteY1" fmla="*/ 249457 h 249457"/>
                <a:gd name="connsiteX2" fmla="*/ 4702610 w 6957353"/>
                <a:gd name="connsiteY2" fmla="*/ 16668 h 249457"/>
                <a:gd name="connsiteX3" fmla="*/ 6957353 w 6957353"/>
                <a:gd name="connsiteY3" fmla="*/ 11906 h 249457"/>
                <a:gd name="connsiteX4" fmla="*/ 6955005 w 6957353"/>
                <a:gd name="connsiteY4" fmla="*/ 0 h 249457"/>
                <a:gd name="connsiteX5" fmla="*/ 4707650 w 6957353"/>
                <a:gd name="connsiteY5" fmla="*/ 10087 h 249457"/>
                <a:gd name="connsiteX6" fmla="*/ 0 w 6957353"/>
                <a:gd name="connsiteY6" fmla="*/ 10497 h 249457"/>
                <a:gd name="connsiteX0" fmla="*/ 0 w 6957353"/>
                <a:gd name="connsiteY0" fmla="*/ 10497 h 249457"/>
                <a:gd name="connsiteX1" fmla="*/ 4587596 w 6957353"/>
                <a:gd name="connsiteY1" fmla="*/ 249457 h 249457"/>
                <a:gd name="connsiteX2" fmla="*/ 4702610 w 6957353"/>
                <a:gd name="connsiteY2" fmla="*/ 16668 h 249457"/>
                <a:gd name="connsiteX3" fmla="*/ 6957353 w 6957353"/>
                <a:gd name="connsiteY3" fmla="*/ 16668 h 249457"/>
                <a:gd name="connsiteX4" fmla="*/ 6955005 w 6957353"/>
                <a:gd name="connsiteY4" fmla="*/ 0 h 249457"/>
                <a:gd name="connsiteX5" fmla="*/ 4707650 w 6957353"/>
                <a:gd name="connsiteY5" fmla="*/ 10087 h 249457"/>
                <a:gd name="connsiteX6" fmla="*/ 0 w 6957353"/>
                <a:gd name="connsiteY6" fmla="*/ 10497 h 249457"/>
                <a:gd name="connsiteX0" fmla="*/ 0 w 6957354"/>
                <a:gd name="connsiteY0" fmla="*/ 5734 h 244694"/>
                <a:gd name="connsiteX1" fmla="*/ 4587596 w 6957354"/>
                <a:gd name="connsiteY1" fmla="*/ 244694 h 244694"/>
                <a:gd name="connsiteX2" fmla="*/ 4702610 w 6957354"/>
                <a:gd name="connsiteY2" fmla="*/ 11905 h 244694"/>
                <a:gd name="connsiteX3" fmla="*/ 6957353 w 6957354"/>
                <a:gd name="connsiteY3" fmla="*/ 11905 h 244694"/>
                <a:gd name="connsiteX4" fmla="*/ 6957354 w 6957354"/>
                <a:gd name="connsiteY4" fmla="*/ 0 h 244694"/>
                <a:gd name="connsiteX5" fmla="*/ 4707650 w 6957354"/>
                <a:gd name="connsiteY5" fmla="*/ 5324 h 244694"/>
                <a:gd name="connsiteX6" fmla="*/ 0 w 6957354"/>
                <a:gd name="connsiteY6" fmla="*/ 5734 h 244694"/>
                <a:gd name="connsiteX0" fmla="*/ 0 w 6959702"/>
                <a:gd name="connsiteY0" fmla="*/ 3353 h 242313"/>
                <a:gd name="connsiteX1" fmla="*/ 4587596 w 6959702"/>
                <a:gd name="connsiteY1" fmla="*/ 242313 h 242313"/>
                <a:gd name="connsiteX2" fmla="*/ 4702610 w 6959702"/>
                <a:gd name="connsiteY2" fmla="*/ 9524 h 242313"/>
                <a:gd name="connsiteX3" fmla="*/ 6957353 w 6959702"/>
                <a:gd name="connsiteY3" fmla="*/ 9524 h 242313"/>
                <a:gd name="connsiteX4" fmla="*/ 6959702 w 6959702"/>
                <a:gd name="connsiteY4" fmla="*/ 0 h 242313"/>
                <a:gd name="connsiteX5" fmla="*/ 4707650 w 6959702"/>
                <a:gd name="connsiteY5" fmla="*/ 2943 h 242313"/>
                <a:gd name="connsiteX6" fmla="*/ 0 w 6959702"/>
                <a:gd name="connsiteY6" fmla="*/ 3353 h 242313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7353"/>
                <a:gd name="connsiteY0" fmla="*/ 971 h 239931"/>
                <a:gd name="connsiteX1" fmla="*/ 4587596 w 6957353"/>
                <a:gd name="connsiteY1" fmla="*/ 239931 h 239931"/>
                <a:gd name="connsiteX2" fmla="*/ 4702610 w 6957353"/>
                <a:gd name="connsiteY2" fmla="*/ 7142 h 239931"/>
                <a:gd name="connsiteX3" fmla="*/ 6957353 w 6957353"/>
                <a:gd name="connsiteY3" fmla="*/ 7142 h 239931"/>
                <a:gd name="connsiteX4" fmla="*/ 6955004 w 6957353"/>
                <a:gd name="connsiteY4" fmla="*/ 0 h 239931"/>
                <a:gd name="connsiteX5" fmla="*/ 4707650 w 6957353"/>
                <a:gd name="connsiteY5" fmla="*/ 561 h 239931"/>
                <a:gd name="connsiteX6" fmla="*/ 0 w 6957353"/>
                <a:gd name="connsiteY6" fmla="*/ 971 h 239931"/>
                <a:gd name="connsiteX0" fmla="*/ 0 w 6957353"/>
                <a:gd name="connsiteY0" fmla="*/ 971 h 239931"/>
                <a:gd name="connsiteX1" fmla="*/ 4587596 w 6957353"/>
                <a:gd name="connsiteY1" fmla="*/ 239931 h 239931"/>
                <a:gd name="connsiteX2" fmla="*/ 4702610 w 6957353"/>
                <a:gd name="connsiteY2" fmla="*/ 7142 h 239931"/>
                <a:gd name="connsiteX3" fmla="*/ 6957353 w 6957353"/>
                <a:gd name="connsiteY3" fmla="*/ 7142 h 239931"/>
                <a:gd name="connsiteX4" fmla="*/ 6957353 w 6957353"/>
                <a:gd name="connsiteY4" fmla="*/ 0 h 239931"/>
                <a:gd name="connsiteX5" fmla="*/ 4707650 w 6957353"/>
                <a:gd name="connsiteY5" fmla="*/ 561 h 239931"/>
                <a:gd name="connsiteX6" fmla="*/ 0 w 6957353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62050"/>
                <a:gd name="connsiteY0" fmla="*/ 971 h 239931"/>
                <a:gd name="connsiteX1" fmla="*/ 4587596 w 6962050"/>
                <a:gd name="connsiteY1" fmla="*/ 239931 h 239931"/>
                <a:gd name="connsiteX2" fmla="*/ 4702610 w 6962050"/>
                <a:gd name="connsiteY2" fmla="*/ 7142 h 239931"/>
                <a:gd name="connsiteX3" fmla="*/ 6957353 w 6962050"/>
                <a:gd name="connsiteY3" fmla="*/ 7142 h 239931"/>
                <a:gd name="connsiteX4" fmla="*/ 6962050 w 6962050"/>
                <a:gd name="connsiteY4" fmla="*/ 0 h 239931"/>
                <a:gd name="connsiteX5" fmla="*/ 4707650 w 6962050"/>
                <a:gd name="connsiteY5" fmla="*/ 561 h 239931"/>
                <a:gd name="connsiteX6" fmla="*/ 0 w 6962050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9702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59702" h="239931">
                  <a:moveTo>
                    <a:pt x="0" y="971"/>
                  </a:moveTo>
                  <a:lnTo>
                    <a:pt x="4587596" y="239931"/>
                  </a:lnTo>
                  <a:lnTo>
                    <a:pt x="4702610" y="7142"/>
                  </a:lnTo>
                  <a:lnTo>
                    <a:pt x="6959702" y="7142"/>
                  </a:lnTo>
                  <a:lnTo>
                    <a:pt x="6959702" y="0"/>
                  </a:lnTo>
                  <a:lnTo>
                    <a:pt x="4707650" y="561"/>
                  </a:lnTo>
                  <a:lnTo>
                    <a:pt x="0" y="971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pic>
          <p:nvPicPr>
            <p:cNvPr id="18" name="Obrázek 17">
              <a:extLst>
                <a:ext uri="{FF2B5EF4-FFF2-40B4-BE49-F238E27FC236}">
                  <a16:creationId xmlns:a16="http://schemas.microsoft.com/office/drawing/2014/main" id="{0111EA25-4A4C-4CD1-9C09-32BEB7E1917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5537224"/>
              <a:ext cx="1726779" cy="360000"/>
            </a:xfrm>
            <a:prstGeom prst="rect">
              <a:avLst/>
            </a:prstGeom>
          </p:spPr>
        </p:pic>
      </p:grp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5EBB1387-72D2-40BA-A858-4B1B99B19F40}"/>
              </a:ext>
            </a:extLst>
          </p:cNvPr>
          <p:cNvSpPr txBox="1"/>
          <p:nvPr userDrawn="1"/>
        </p:nvSpPr>
        <p:spPr>
          <a:xfrm>
            <a:off x="7560000" y="7354800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noProof="0" dirty="0"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457303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39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3392673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0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délník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cs-CZ" sz="2800" b="1" i="0" baseline="0" dirty="0">
              <a:latin typeface="SKODA Next" panose="020B0504020603020204" pitchFamily="34" charset="0"/>
              <a:ea typeface="Verdana" panose="020B0604030504040204" pitchFamily="34" charset="0"/>
              <a:cs typeface="Verdana" panose="020B0604030504040204" pitchFamily="34" charset="0"/>
              <a:sym typeface="SKODA Next" panose="020B0504020603020204" pitchFamily="34" charset="0"/>
            </a:endParaRP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00AFBED1-31E4-4BDD-B8ED-401E410E4A64}"/>
              </a:ext>
            </a:extLst>
          </p:cNvPr>
          <p:cNvGrpSpPr/>
          <p:nvPr userDrawn="1"/>
        </p:nvGrpSpPr>
        <p:grpSpPr>
          <a:xfrm>
            <a:off x="0" y="6962400"/>
            <a:ext cx="10691814" cy="599982"/>
            <a:chOff x="0" y="5414400"/>
            <a:chExt cx="10691814" cy="599982"/>
          </a:xfrm>
        </p:grpSpPr>
        <p:sp>
          <p:nvSpPr>
            <p:cNvPr id="15" name="Volný tvar 15">
              <a:extLst>
                <a:ext uri="{FF2B5EF4-FFF2-40B4-BE49-F238E27FC236}">
                  <a16:creationId xmlns:a16="http://schemas.microsoft.com/office/drawing/2014/main" id="{B4A9D7A8-6FA0-4B5F-BEA0-12DF2180264E}"/>
                </a:ext>
              </a:extLst>
            </p:cNvPr>
            <p:cNvSpPr/>
            <p:nvPr userDrawn="1"/>
          </p:nvSpPr>
          <p:spPr>
            <a:xfrm>
              <a:off x="0" y="5414400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sp>
          <p:nvSpPr>
            <p:cNvPr id="16" name="Volný tvar 16">
              <a:extLst>
                <a:ext uri="{FF2B5EF4-FFF2-40B4-BE49-F238E27FC236}">
                  <a16:creationId xmlns:a16="http://schemas.microsoft.com/office/drawing/2014/main" id="{07D14A14-0DBA-4C4B-A460-4529A9D5C251}"/>
                </a:ext>
              </a:extLst>
            </p:cNvPr>
            <p:cNvSpPr/>
            <p:nvPr userDrawn="1"/>
          </p:nvSpPr>
          <p:spPr>
            <a:xfrm>
              <a:off x="1907202" y="5657276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sp>
          <p:nvSpPr>
            <p:cNvPr id="17" name="Volný tvar 17">
              <a:extLst>
                <a:ext uri="{FF2B5EF4-FFF2-40B4-BE49-F238E27FC236}">
                  <a16:creationId xmlns:a16="http://schemas.microsoft.com/office/drawing/2014/main" id="{187524F1-18D3-4D16-8EEA-F80C4961387E}"/>
                </a:ext>
              </a:extLst>
            </p:cNvPr>
            <p:cNvSpPr/>
            <p:nvPr userDrawn="1"/>
          </p:nvSpPr>
          <p:spPr>
            <a:xfrm>
              <a:off x="3635637" y="5417345"/>
              <a:ext cx="7056177" cy="239931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693213 w 4707650"/>
                <a:gd name="connsiteY2" fmla="*/ 25632 h 239370"/>
                <a:gd name="connsiteX3" fmla="*/ 4707650 w 4707650"/>
                <a:gd name="connsiteY3" fmla="*/ 0 h 239370"/>
                <a:gd name="connsiteX4" fmla="*/ 0 w 4707650"/>
                <a:gd name="connsiteY4" fmla="*/ 410 h 239370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957353 w 6957353"/>
                <a:gd name="connsiteY2" fmla="*/ 0 h 239932"/>
                <a:gd name="connsiteX3" fmla="*/ 4707650 w 6957353"/>
                <a:gd name="connsiteY3" fmla="*/ 562 h 239932"/>
                <a:gd name="connsiteX4" fmla="*/ 0 w 6957353"/>
                <a:gd name="connsiteY4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041363 w 6957353"/>
                <a:gd name="connsiteY2" fmla="*/ 92869 h 239932"/>
                <a:gd name="connsiteX3" fmla="*/ 6957353 w 6957353"/>
                <a:gd name="connsiteY3" fmla="*/ 0 h 239932"/>
                <a:gd name="connsiteX4" fmla="*/ 4707650 w 6957353"/>
                <a:gd name="connsiteY4" fmla="*/ 562 h 239932"/>
                <a:gd name="connsiteX5" fmla="*/ 0 w 6957353"/>
                <a:gd name="connsiteY5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957353 w 6957353"/>
                <a:gd name="connsiteY2" fmla="*/ 2381 h 239932"/>
                <a:gd name="connsiteX3" fmla="*/ 6957353 w 6957353"/>
                <a:gd name="connsiteY3" fmla="*/ 0 h 239932"/>
                <a:gd name="connsiteX4" fmla="*/ 4707650 w 6957353"/>
                <a:gd name="connsiteY4" fmla="*/ 562 h 239932"/>
                <a:gd name="connsiteX5" fmla="*/ 0 w 6957353"/>
                <a:gd name="connsiteY5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5766567 w 6957353"/>
                <a:gd name="connsiteY2" fmla="*/ 123825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4958 w 6957353"/>
                <a:gd name="connsiteY2" fmla="*/ 4762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4958 w 6957353"/>
                <a:gd name="connsiteY2" fmla="*/ 4762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2610 w 6957353"/>
                <a:gd name="connsiteY2" fmla="*/ 7143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10497 h 249457"/>
                <a:gd name="connsiteX1" fmla="*/ 4587596 w 6957353"/>
                <a:gd name="connsiteY1" fmla="*/ 249457 h 249457"/>
                <a:gd name="connsiteX2" fmla="*/ 4702610 w 6957353"/>
                <a:gd name="connsiteY2" fmla="*/ 16668 h 249457"/>
                <a:gd name="connsiteX3" fmla="*/ 6957353 w 6957353"/>
                <a:gd name="connsiteY3" fmla="*/ 11906 h 249457"/>
                <a:gd name="connsiteX4" fmla="*/ 6955005 w 6957353"/>
                <a:gd name="connsiteY4" fmla="*/ 0 h 249457"/>
                <a:gd name="connsiteX5" fmla="*/ 4707650 w 6957353"/>
                <a:gd name="connsiteY5" fmla="*/ 10087 h 249457"/>
                <a:gd name="connsiteX6" fmla="*/ 0 w 6957353"/>
                <a:gd name="connsiteY6" fmla="*/ 10497 h 249457"/>
                <a:gd name="connsiteX0" fmla="*/ 0 w 6957353"/>
                <a:gd name="connsiteY0" fmla="*/ 10497 h 249457"/>
                <a:gd name="connsiteX1" fmla="*/ 4587596 w 6957353"/>
                <a:gd name="connsiteY1" fmla="*/ 249457 h 249457"/>
                <a:gd name="connsiteX2" fmla="*/ 4702610 w 6957353"/>
                <a:gd name="connsiteY2" fmla="*/ 16668 h 249457"/>
                <a:gd name="connsiteX3" fmla="*/ 6957353 w 6957353"/>
                <a:gd name="connsiteY3" fmla="*/ 16668 h 249457"/>
                <a:gd name="connsiteX4" fmla="*/ 6955005 w 6957353"/>
                <a:gd name="connsiteY4" fmla="*/ 0 h 249457"/>
                <a:gd name="connsiteX5" fmla="*/ 4707650 w 6957353"/>
                <a:gd name="connsiteY5" fmla="*/ 10087 h 249457"/>
                <a:gd name="connsiteX6" fmla="*/ 0 w 6957353"/>
                <a:gd name="connsiteY6" fmla="*/ 10497 h 249457"/>
                <a:gd name="connsiteX0" fmla="*/ 0 w 6957354"/>
                <a:gd name="connsiteY0" fmla="*/ 5734 h 244694"/>
                <a:gd name="connsiteX1" fmla="*/ 4587596 w 6957354"/>
                <a:gd name="connsiteY1" fmla="*/ 244694 h 244694"/>
                <a:gd name="connsiteX2" fmla="*/ 4702610 w 6957354"/>
                <a:gd name="connsiteY2" fmla="*/ 11905 h 244694"/>
                <a:gd name="connsiteX3" fmla="*/ 6957353 w 6957354"/>
                <a:gd name="connsiteY3" fmla="*/ 11905 h 244694"/>
                <a:gd name="connsiteX4" fmla="*/ 6957354 w 6957354"/>
                <a:gd name="connsiteY4" fmla="*/ 0 h 244694"/>
                <a:gd name="connsiteX5" fmla="*/ 4707650 w 6957354"/>
                <a:gd name="connsiteY5" fmla="*/ 5324 h 244694"/>
                <a:gd name="connsiteX6" fmla="*/ 0 w 6957354"/>
                <a:gd name="connsiteY6" fmla="*/ 5734 h 244694"/>
                <a:gd name="connsiteX0" fmla="*/ 0 w 6959702"/>
                <a:gd name="connsiteY0" fmla="*/ 3353 h 242313"/>
                <a:gd name="connsiteX1" fmla="*/ 4587596 w 6959702"/>
                <a:gd name="connsiteY1" fmla="*/ 242313 h 242313"/>
                <a:gd name="connsiteX2" fmla="*/ 4702610 w 6959702"/>
                <a:gd name="connsiteY2" fmla="*/ 9524 h 242313"/>
                <a:gd name="connsiteX3" fmla="*/ 6957353 w 6959702"/>
                <a:gd name="connsiteY3" fmla="*/ 9524 h 242313"/>
                <a:gd name="connsiteX4" fmla="*/ 6959702 w 6959702"/>
                <a:gd name="connsiteY4" fmla="*/ 0 h 242313"/>
                <a:gd name="connsiteX5" fmla="*/ 4707650 w 6959702"/>
                <a:gd name="connsiteY5" fmla="*/ 2943 h 242313"/>
                <a:gd name="connsiteX6" fmla="*/ 0 w 6959702"/>
                <a:gd name="connsiteY6" fmla="*/ 3353 h 242313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7353"/>
                <a:gd name="connsiteY0" fmla="*/ 971 h 239931"/>
                <a:gd name="connsiteX1" fmla="*/ 4587596 w 6957353"/>
                <a:gd name="connsiteY1" fmla="*/ 239931 h 239931"/>
                <a:gd name="connsiteX2" fmla="*/ 4702610 w 6957353"/>
                <a:gd name="connsiteY2" fmla="*/ 7142 h 239931"/>
                <a:gd name="connsiteX3" fmla="*/ 6957353 w 6957353"/>
                <a:gd name="connsiteY3" fmla="*/ 7142 h 239931"/>
                <a:gd name="connsiteX4" fmla="*/ 6955004 w 6957353"/>
                <a:gd name="connsiteY4" fmla="*/ 0 h 239931"/>
                <a:gd name="connsiteX5" fmla="*/ 4707650 w 6957353"/>
                <a:gd name="connsiteY5" fmla="*/ 561 h 239931"/>
                <a:gd name="connsiteX6" fmla="*/ 0 w 6957353"/>
                <a:gd name="connsiteY6" fmla="*/ 971 h 239931"/>
                <a:gd name="connsiteX0" fmla="*/ 0 w 6957353"/>
                <a:gd name="connsiteY0" fmla="*/ 971 h 239931"/>
                <a:gd name="connsiteX1" fmla="*/ 4587596 w 6957353"/>
                <a:gd name="connsiteY1" fmla="*/ 239931 h 239931"/>
                <a:gd name="connsiteX2" fmla="*/ 4702610 w 6957353"/>
                <a:gd name="connsiteY2" fmla="*/ 7142 h 239931"/>
                <a:gd name="connsiteX3" fmla="*/ 6957353 w 6957353"/>
                <a:gd name="connsiteY3" fmla="*/ 7142 h 239931"/>
                <a:gd name="connsiteX4" fmla="*/ 6957353 w 6957353"/>
                <a:gd name="connsiteY4" fmla="*/ 0 h 239931"/>
                <a:gd name="connsiteX5" fmla="*/ 4707650 w 6957353"/>
                <a:gd name="connsiteY5" fmla="*/ 561 h 239931"/>
                <a:gd name="connsiteX6" fmla="*/ 0 w 6957353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62050"/>
                <a:gd name="connsiteY0" fmla="*/ 971 h 239931"/>
                <a:gd name="connsiteX1" fmla="*/ 4587596 w 6962050"/>
                <a:gd name="connsiteY1" fmla="*/ 239931 h 239931"/>
                <a:gd name="connsiteX2" fmla="*/ 4702610 w 6962050"/>
                <a:gd name="connsiteY2" fmla="*/ 7142 h 239931"/>
                <a:gd name="connsiteX3" fmla="*/ 6957353 w 6962050"/>
                <a:gd name="connsiteY3" fmla="*/ 7142 h 239931"/>
                <a:gd name="connsiteX4" fmla="*/ 6962050 w 6962050"/>
                <a:gd name="connsiteY4" fmla="*/ 0 h 239931"/>
                <a:gd name="connsiteX5" fmla="*/ 4707650 w 6962050"/>
                <a:gd name="connsiteY5" fmla="*/ 561 h 239931"/>
                <a:gd name="connsiteX6" fmla="*/ 0 w 6962050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9702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59702" h="239931">
                  <a:moveTo>
                    <a:pt x="0" y="971"/>
                  </a:moveTo>
                  <a:lnTo>
                    <a:pt x="4587596" y="239931"/>
                  </a:lnTo>
                  <a:lnTo>
                    <a:pt x="4702610" y="7142"/>
                  </a:lnTo>
                  <a:lnTo>
                    <a:pt x="6959702" y="7142"/>
                  </a:lnTo>
                  <a:lnTo>
                    <a:pt x="6959702" y="0"/>
                  </a:lnTo>
                  <a:lnTo>
                    <a:pt x="4707650" y="561"/>
                  </a:lnTo>
                  <a:lnTo>
                    <a:pt x="0" y="971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pic>
          <p:nvPicPr>
            <p:cNvPr id="18" name="Obrázek 17">
              <a:extLst>
                <a:ext uri="{FF2B5EF4-FFF2-40B4-BE49-F238E27FC236}">
                  <a16:creationId xmlns:a16="http://schemas.microsoft.com/office/drawing/2014/main" id="{E09A446B-9610-46E3-B681-FE7A3ABC444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3721" y="5537224"/>
              <a:ext cx="1726779" cy="360000"/>
            </a:xfrm>
            <a:prstGeom prst="rect">
              <a:avLst/>
            </a:prstGeom>
          </p:spPr>
        </p:pic>
      </p:grp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E8AA0BCB-2407-45F5-8BB0-F74D79DA8D90}"/>
              </a:ext>
            </a:extLst>
          </p:cNvPr>
          <p:cNvSpPr txBox="1"/>
          <p:nvPr userDrawn="1"/>
        </p:nvSpPr>
        <p:spPr>
          <a:xfrm>
            <a:off x="7560000" y="7354800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noProof="0" dirty="0"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96328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40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7" userDrawn="1">
          <p15:clr>
            <a:srgbClr val="F26B43"/>
          </p15:clr>
        </p15:guide>
        <p15:guide id="2" pos="3255" userDrawn="1">
          <p15:clr>
            <a:srgbClr val="F26B43"/>
          </p15:clr>
        </p15:guide>
        <p15:guide id="3" pos="2393" userDrawn="1">
          <p15:clr>
            <a:srgbClr val="F26B43"/>
          </p15:clr>
        </p15:guide>
        <p15:guide id="4" pos="2166" userDrawn="1">
          <p15:clr>
            <a:srgbClr val="F26B43"/>
          </p15:clr>
        </p15:guide>
        <p15:guide id="5" pos="1304" userDrawn="1">
          <p15:clr>
            <a:srgbClr val="F26B43"/>
          </p15:clr>
        </p15:guide>
        <p15:guide id="6" pos="1077" userDrawn="1">
          <p15:clr>
            <a:srgbClr val="F26B43"/>
          </p15:clr>
        </p15:guide>
        <p15:guide id="7" pos="216" userDrawn="1">
          <p15:clr>
            <a:srgbClr val="F26B43"/>
          </p15:clr>
        </p15:guide>
        <p15:guide id="8" pos="3480" userDrawn="1">
          <p15:clr>
            <a:srgbClr val="F26B43"/>
          </p15:clr>
        </p15:guide>
        <p15:guide id="9" pos="4342" userDrawn="1">
          <p15:clr>
            <a:srgbClr val="F26B43"/>
          </p15:clr>
        </p15:guide>
        <p15:guide id="10" pos="4569" userDrawn="1">
          <p15:clr>
            <a:srgbClr val="F26B43"/>
          </p15:clr>
        </p15:guide>
        <p15:guide id="11" pos="5431" userDrawn="1">
          <p15:clr>
            <a:srgbClr val="F26B43"/>
          </p15:clr>
        </p15:guide>
        <p15:guide id="12" pos="5658" userDrawn="1">
          <p15:clr>
            <a:srgbClr val="F26B43"/>
          </p15:clr>
        </p15:guide>
        <p15:guide id="13" pos="6519" userDrawn="1">
          <p15:clr>
            <a:srgbClr val="F26B43"/>
          </p15:clr>
        </p15:guide>
        <p15:guide id="14" orient="horz" pos="907" userDrawn="1">
          <p15:clr>
            <a:srgbClr val="F26B43"/>
          </p15:clr>
        </p15:guide>
        <p15:guide id="15" orient="horz" pos="4172" userDrawn="1">
          <p15:clr>
            <a:srgbClr val="F26B43"/>
          </p15:clr>
        </p15:guide>
        <p15:guide id="16" orient="horz" pos="2471" userDrawn="1">
          <p15:clr>
            <a:srgbClr val="F26B43"/>
          </p15:clr>
        </p15:guide>
        <p15:guide id="17" orient="horz" pos="2607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141970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2" name="think-cell Slide" r:id="rId15" imgW="399" imgH="398" progId="TCLayout.ActiveDocument.1">
                  <p:embed/>
                </p:oleObj>
              </mc:Choice>
              <mc:Fallback>
                <p:oleObj name="think-cell Slide" r:id="rId15" imgW="399" imgH="39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délník 3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cs-CZ" sz="2800" b="1" i="0" baseline="0" dirty="0">
              <a:latin typeface="SKODA Next" panose="020B0504020603020204" pitchFamily="34" charset="0"/>
              <a:ea typeface="Verdana" panose="020B0604030504040204" pitchFamily="34" charset="0"/>
              <a:cs typeface="Verdana" panose="020B0604030504040204" pitchFamily="34" charset="0"/>
              <a:sym typeface="SKODA Next" panose="020B0504020603020204" pitchFamily="34" charset="0"/>
            </a:endParaRP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49F91169-6D68-4B93-9FB6-B49794E38051}"/>
              </a:ext>
            </a:extLst>
          </p:cNvPr>
          <p:cNvGrpSpPr/>
          <p:nvPr userDrawn="1"/>
        </p:nvGrpSpPr>
        <p:grpSpPr>
          <a:xfrm>
            <a:off x="0" y="6962400"/>
            <a:ext cx="10691814" cy="599982"/>
            <a:chOff x="0" y="5414400"/>
            <a:chExt cx="10691814" cy="599982"/>
          </a:xfrm>
        </p:grpSpPr>
        <p:sp>
          <p:nvSpPr>
            <p:cNvPr id="13" name="Volný tvar 15">
              <a:extLst>
                <a:ext uri="{FF2B5EF4-FFF2-40B4-BE49-F238E27FC236}">
                  <a16:creationId xmlns:a16="http://schemas.microsoft.com/office/drawing/2014/main" id="{A9D36E83-8FE9-46F5-8B1B-4D1ACE81C2BD}"/>
                </a:ext>
              </a:extLst>
            </p:cNvPr>
            <p:cNvSpPr/>
            <p:nvPr userDrawn="1"/>
          </p:nvSpPr>
          <p:spPr>
            <a:xfrm>
              <a:off x="0" y="5414400"/>
              <a:ext cx="8444706" cy="599334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599334 h 599334"/>
                <a:gd name="connsiteX1" fmla="*/ 8335151 w 8490871"/>
                <a:gd name="connsiteY1" fmla="*/ 242876 h 599334"/>
                <a:gd name="connsiteX2" fmla="*/ 8455205 w 8490871"/>
                <a:gd name="connsiteY2" fmla="*/ 3506 h 599334"/>
                <a:gd name="connsiteX3" fmla="*/ 159745 w 8490871"/>
                <a:gd name="connsiteY3" fmla="*/ 0 h 599334"/>
                <a:gd name="connsiteX4" fmla="*/ 0 w 8490871"/>
                <a:gd name="connsiteY4" fmla="*/ 599334 h 599334"/>
                <a:gd name="connsiteX5" fmla="*/ 8490871 w 8490871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12236 w 8331126"/>
                <a:gd name="connsiteY4" fmla="*/ 599334 h 599334"/>
                <a:gd name="connsiteX5" fmla="*/ 8331126 w 8331126"/>
                <a:gd name="connsiteY5" fmla="*/ 599334 h 599334"/>
                <a:gd name="connsiteX0" fmla="*/ 8331126 w 8331126"/>
                <a:gd name="connsiteY0" fmla="*/ 599334 h 599334"/>
                <a:gd name="connsiteX1" fmla="*/ 8175406 w 8331126"/>
                <a:gd name="connsiteY1" fmla="*/ 242876 h 599334"/>
                <a:gd name="connsiteX2" fmla="*/ 8295460 w 8331126"/>
                <a:gd name="connsiteY2" fmla="*/ 3506 h 599334"/>
                <a:gd name="connsiteX3" fmla="*/ 0 w 8331126"/>
                <a:gd name="connsiteY3" fmla="*/ 0 h 599334"/>
                <a:gd name="connsiteX4" fmla="*/ 2842 w 8331126"/>
                <a:gd name="connsiteY4" fmla="*/ 599334 h 599334"/>
                <a:gd name="connsiteX5" fmla="*/ 8331126 w 8331126"/>
                <a:gd name="connsiteY5" fmla="*/ 599334 h 599334"/>
                <a:gd name="connsiteX0" fmla="*/ 8328482 w 8328482"/>
                <a:gd name="connsiteY0" fmla="*/ 599334 h 599334"/>
                <a:gd name="connsiteX1" fmla="*/ 8172762 w 8328482"/>
                <a:gd name="connsiteY1" fmla="*/ 242876 h 599334"/>
                <a:gd name="connsiteX2" fmla="*/ 8292816 w 8328482"/>
                <a:gd name="connsiteY2" fmla="*/ 3506 h 599334"/>
                <a:gd name="connsiteX3" fmla="*/ 1114 w 8328482"/>
                <a:gd name="connsiteY3" fmla="*/ 0 h 599334"/>
                <a:gd name="connsiteX4" fmla="*/ 198 w 8328482"/>
                <a:gd name="connsiteY4" fmla="*/ 599334 h 599334"/>
                <a:gd name="connsiteX5" fmla="*/ 8328482 w 8328482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  <a:gd name="connsiteX0" fmla="*/ 8328325 w 8328325"/>
                <a:gd name="connsiteY0" fmla="*/ 599334 h 599334"/>
                <a:gd name="connsiteX1" fmla="*/ 8172605 w 8328325"/>
                <a:gd name="connsiteY1" fmla="*/ 242876 h 599334"/>
                <a:gd name="connsiteX2" fmla="*/ 8292659 w 8328325"/>
                <a:gd name="connsiteY2" fmla="*/ 3506 h 599334"/>
                <a:gd name="connsiteX3" fmla="*/ 14110 w 8328325"/>
                <a:gd name="connsiteY3" fmla="*/ 0 h 599334"/>
                <a:gd name="connsiteX4" fmla="*/ 41 w 8328325"/>
                <a:gd name="connsiteY4" fmla="*/ 599334 h 599334"/>
                <a:gd name="connsiteX5" fmla="*/ 8328325 w 8328325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1630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2841 w 8329246"/>
                <a:gd name="connsiteY4" fmla="*/ 599334 h 599334"/>
                <a:gd name="connsiteX5" fmla="*/ 8329246 w 8329246"/>
                <a:gd name="connsiteY5" fmla="*/ 599334 h 599334"/>
                <a:gd name="connsiteX0" fmla="*/ 8329246 w 8329246"/>
                <a:gd name="connsiteY0" fmla="*/ 599334 h 599334"/>
                <a:gd name="connsiteX1" fmla="*/ 8173526 w 8329246"/>
                <a:gd name="connsiteY1" fmla="*/ 242876 h 599334"/>
                <a:gd name="connsiteX2" fmla="*/ 8293580 w 8329246"/>
                <a:gd name="connsiteY2" fmla="*/ 3506 h 599334"/>
                <a:gd name="connsiteX3" fmla="*/ 0 w 8329246"/>
                <a:gd name="connsiteY3" fmla="*/ 0 h 599334"/>
                <a:gd name="connsiteX4" fmla="*/ 962 w 8329246"/>
                <a:gd name="connsiteY4" fmla="*/ 599334 h 599334"/>
                <a:gd name="connsiteX5" fmla="*/ 8329246 w 8329246"/>
                <a:gd name="connsiteY5" fmla="*/ 599334 h 599334"/>
                <a:gd name="connsiteX0" fmla="*/ 8330206 w 8330206"/>
                <a:gd name="connsiteY0" fmla="*/ 599334 h 599334"/>
                <a:gd name="connsiteX1" fmla="*/ 8174486 w 8330206"/>
                <a:gd name="connsiteY1" fmla="*/ 242876 h 599334"/>
                <a:gd name="connsiteX2" fmla="*/ 8294540 w 8330206"/>
                <a:gd name="connsiteY2" fmla="*/ 3506 h 599334"/>
                <a:gd name="connsiteX3" fmla="*/ 960 w 8330206"/>
                <a:gd name="connsiteY3" fmla="*/ 0 h 599334"/>
                <a:gd name="connsiteX4" fmla="*/ 43 w 8330206"/>
                <a:gd name="connsiteY4" fmla="*/ 599334 h 599334"/>
                <a:gd name="connsiteX5" fmla="*/ 8330206 w 8330206"/>
                <a:gd name="connsiteY5" fmla="*/ 599334 h 599334"/>
                <a:gd name="connsiteX0" fmla="*/ 8331125 w 8331125"/>
                <a:gd name="connsiteY0" fmla="*/ 599334 h 599334"/>
                <a:gd name="connsiteX1" fmla="*/ 8175405 w 8331125"/>
                <a:gd name="connsiteY1" fmla="*/ 242876 h 599334"/>
                <a:gd name="connsiteX2" fmla="*/ 8295459 w 8331125"/>
                <a:gd name="connsiteY2" fmla="*/ 3506 h 599334"/>
                <a:gd name="connsiteX3" fmla="*/ 0 w 8331125"/>
                <a:gd name="connsiteY3" fmla="*/ 0 h 599334"/>
                <a:gd name="connsiteX4" fmla="*/ 962 w 8331125"/>
                <a:gd name="connsiteY4" fmla="*/ 599334 h 599334"/>
                <a:gd name="connsiteX5" fmla="*/ 8331125 w 8331125"/>
                <a:gd name="connsiteY5" fmla="*/ 599334 h 599334"/>
                <a:gd name="connsiteX0" fmla="*/ 8330185 w 8330185"/>
                <a:gd name="connsiteY0" fmla="*/ 599334 h 599334"/>
                <a:gd name="connsiteX1" fmla="*/ 8174465 w 8330185"/>
                <a:gd name="connsiteY1" fmla="*/ 242876 h 599334"/>
                <a:gd name="connsiteX2" fmla="*/ 8294519 w 8330185"/>
                <a:gd name="connsiteY2" fmla="*/ 3506 h 599334"/>
                <a:gd name="connsiteX3" fmla="*/ 2818 w 8330185"/>
                <a:gd name="connsiteY3" fmla="*/ 0 h 599334"/>
                <a:gd name="connsiteX4" fmla="*/ 22 w 8330185"/>
                <a:gd name="connsiteY4" fmla="*/ 599334 h 599334"/>
                <a:gd name="connsiteX5" fmla="*/ 8330185 w 8330185"/>
                <a:gd name="connsiteY5" fmla="*/ 599334 h 599334"/>
                <a:gd name="connsiteX0" fmla="*/ 8328328 w 8328328"/>
                <a:gd name="connsiteY0" fmla="*/ 599334 h 599334"/>
                <a:gd name="connsiteX1" fmla="*/ 8172608 w 8328328"/>
                <a:gd name="connsiteY1" fmla="*/ 242876 h 599334"/>
                <a:gd name="connsiteX2" fmla="*/ 8292662 w 8328328"/>
                <a:gd name="connsiteY2" fmla="*/ 3506 h 599334"/>
                <a:gd name="connsiteX3" fmla="*/ 961 w 8328328"/>
                <a:gd name="connsiteY3" fmla="*/ 0 h 599334"/>
                <a:gd name="connsiteX4" fmla="*/ 44 w 8328328"/>
                <a:gd name="connsiteY4" fmla="*/ 599334 h 599334"/>
                <a:gd name="connsiteX5" fmla="*/ 8328328 w 8328328"/>
                <a:gd name="connsiteY5" fmla="*/ 599334 h 599334"/>
                <a:gd name="connsiteX0" fmla="*/ 8327367 w 8327367"/>
                <a:gd name="connsiteY0" fmla="*/ 599334 h 599334"/>
                <a:gd name="connsiteX1" fmla="*/ 8171647 w 8327367"/>
                <a:gd name="connsiteY1" fmla="*/ 242876 h 599334"/>
                <a:gd name="connsiteX2" fmla="*/ 8291701 w 8327367"/>
                <a:gd name="connsiteY2" fmla="*/ 3506 h 599334"/>
                <a:gd name="connsiteX3" fmla="*/ 0 w 8327367"/>
                <a:gd name="connsiteY3" fmla="*/ 0 h 599334"/>
                <a:gd name="connsiteX4" fmla="*/ 962 w 8327367"/>
                <a:gd name="connsiteY4" fmla="*/ 599334 h 599334"/>
                <a:gd name="connsiteX5" fmla="*/ 8327367 w 8327367"/>
                <a:gd name="connsiteY5" fmla="*/ 599334 h 599334"/>
                <a:gd name="connsiteX0" fmla="*/ 8328327 w 8328327"/>
                <a:gd name="connsiteY0" fmla="*/ 599334 h 599334"/>
                <a:gd name="connsiteX1" fmla="*/ 8172607 w 8328327"/>
                <a:gd name="connsiteY1" fmla="*/ 242876 h 599334"/>
                <a:gd name="connsiteX2" fmla="*/ 8292661 w 8328327"/>
                <a:gd name="connsiteY2" fmla="*/ 3506 h 599334"/>
                <a:gd name="connsiteX3" fmla="*/ 960 w 8328327"/>
                <a:gd name="connsiteY3" fmla="*/ 0 h 599334"/>
                <a:gd name="connsiteX4" fmla="*/ 43 w 8328327"/>
                <a:gd name="connsiteY4" fmla="*/ 599334 h 599334"/>
                <a:gd name="connsiteX5" fmla="*/ 8328327 w 8328327"/>
                <a:gd name="connsiteY5" fmla="*/ 599334 h 599334"/>
                <a:gd name="connsiteX0" fmla="*/ 8328285 w 8328285"/>
                <a:gd name="connsiteY0" fmla="*/ 599334 h 599334"/>
                <a:gd name="connsiteX1" fmla="*/ 8172565 w 8328285"/>
                <a:gd name="connsiteY1" fmla="*/ 242876 h 599334"/>
                <a:gd name="connsiteX2" fmla="*/ 8292619 w 8328285"/>
                <a:gd name="connsiteY2" fmla="*/ 3506 h 599334"/>
                <a:gd name="connsiteX3" fmla="*/ 341008 w 8328285"/>
                <a:gd name="connsiteY3" fmla="*/ 0 h 599334"/>
                <a:gd name="connsiteX4" fmla="*/ 1 w 8328285"/>
                <a:gd name="connsiteY4" fmla="*/ 599334 h 599334"/>
                <a:gd name="connsiteX5" fmla="*/ 8328285 w 8328285"/>
                <a:gd name="connsiteY5" fmla="*/ 599334 h 599334"/>
                <a:gd name="connsiteX0" fmla="*/ 7990094 w 7990094"/>
                <a:gd name="connsiteY0" fmla="*/ 599334 h 601239"/>
                <a:gd name="connsiteX1" fmla="*/ 7834374 w 7990094"/>
                <a:gd name="connsiteY1" fmla="*/ 242876 h 601239"/>
                <a:gd name="connsiteX2" fmla="*/ 7954428 w 7990094"/>
                <a:gd name="connsiteY2" fmla="*/ 3506 h 601239"/>
                <a:gd name="connsiteX3" fmla="*/ 2817 w 7990094"/>
                <a:gd name="connsiteY3" fmla="*/ 0 h 601239"/>
                <a:gd name="connsiteX4" fmla="*/ 22 w 7990094"/>
                <a:gd name="connsiteY4" fmla="*/ 601239 h 601239"/>
                <a:gd name="connsiteX5" fmla="*/ 7990094 w 7990094"/>
                <a:gd name="connsiteY5" fmla="*/ 599334 h 601239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7429 h 599334"/>
                <a:gd name="connsiteX5" fmla="*/ 8328284 w 8328284"/>
                <a:gd name="connsiteY5" fmla="*/ 599334 h 599334"/>
                <a:gd name="connsiteX0" fmla="*/ 8328284 w 8328284"/>
                <a:gd name="connsiteY0" fmla="*/ 599334 h 599334"/>
                <a:gd name="connsiteX1" fmla="*/ 8172564 w 8328284"/>
                <a:gd name="connsiteY1" fmla="*/ 242876 h 599334"/>
                <a:gd name="connsiteX2" fmla="*/ 8292618 w 8328284"/>
                <a:gd name="connsiteY2" fmla="*/ 3506 h 599334"/>
                <a:gd name="connsiteX3" fmla="*/ 341007 w 8328284"/>
                <a:gd name="connsiteY3" fmla="*/ 0 h 599334"/>
                <a:gd name="connsiteX4" fmla="*/ 0 w 8328284"/>
                <a:gd name="connsiteY4" fmla="*/ 599334 h 599334"/>
                <a:gd name="connsiteX5" fmla="*/ 8328284 w 8328284"/>
                <a:gd name="connsiteY5" fmla="*/ 599334 h 599334"/>
                <a:gd name="connsiteX0" fmla="*/ 8329247 w 8329247"/>
                <a:gd name="connsiteY0" fmla="*/ 599334 h 599334"/>
                <a:gd name="connsiteX1" fmla="*/ 8173527 w 8329247"/>
                <a:gd name="connsiteY1" fmla="*/ 242876 h 599334"/>
                <a:gd name="connsiteX2" fmla="*/ 8293581 w 8329247"/>
                <a:gd name="connsiteY2" fmla="*/ 3506 h 599334"/>
                <a:gd name="connsiteX3" fmla="*/ 0 w 8329247"/>
                <a:gd name="connsiteY3" fmla="*/ 0 h 599334"/>
                <a:gd name="connsiteX4" fmla="*/ 963 w 8329247"/>
                <a:gd name="connsiteY4" fmla="*/ 599334 h 599334"/>
                <a:gd name="connsiteX5" fmla="*/ 8329247 w 8329247"/>
                <a:gd name="connsiteY5" fmla="*/ 599334 h 599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329247" h="599334">
                  <a:moveTo>
                    <a:pt x="8329247" y="599334"/>
                  </a:moveTo>
                  <a:lnTo>
                    <a:pt x="8173527" y="242876"/>
                  </a:lnTo>
                  <a:lnTo>
                    <a:pt x="8293581" y="3506"/>
                  </a:lnTo>
                  <a:lnTo>
                    <a:pt x="0" y="0"/>
                  </a:lnTo>
                  <a:lnTo>
                    <a:pt x="963" y="599334"/>
                  </a:lnTo>
                  <a:lnTo>
                    <a:pt x="8329247" y="599334"/>
                  </a:lnTo>
                  <a:close/>
                </a:path>
              </a:pathLst>
            </a:custGeom>
            <a:solidFill>
              <a:srgbClr val="DCDCD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sp>
          <p:nvSpPr>
            <p:cNvPr id="19" name="Volný tvar 16">
              <a:extLst>
                <a:ext uri="{FF2B5EF4-FFF2-40B4-BE49-F238E27FC236}">
                  <a16:creationId xmlns:a16="http://schemas.microsoft.com/office/drawing/2014/main" id="{98E96488-47C1-4DD6-91A3-E35B52417D9C}"/>
                </a:ext>
              </a:extLst>
            </p:cNvPr>
            <p:cNvSpPr/>
            <p:nvPr userDrawn="1"/>
          </p:nvSpPr>
          <p:spPr>
            <a:xfrm>
              <a:off x="1907202" y="5657276"/>
              <a:ext cx="6537502" cy="357106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2033595 w 8491108"/>
                <a:gd name="connsiteY2" fmla="*/ 594144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8490871 w 8490871"/>
                <a:gd name="connsiteY0" fmla="*/ 356458 h 356458"/>
                <a:gd name="connsiteX1" fmla="*/ 8335151 w 8490871"/>
                <a:gd name="connsiteY1" fmla="*/ 0 h 356458"/>
                <a:gd name="connsiteX2" fmla="*/ 2033358 w 8490871"/>
                <a:gd name="connsiteY2" fmla="*/ 353296 h 356458"/>
                <a:gd name="connsiteX3" fmla="*/ 0 w 8490871"/>
                <a:gd name="connsiteY3" fmla="*/ 356458 h 356458"/>
                <a:gd name="connsiteX4" fmla="*/ 8490871 w 8490871"/>
                <a:gd name="connsiteY4" fmla="*/ 356458 h 356458"/>
                <a:gd name="connsiteX0" fmla="*/ 6457513 w 6457513"/>
                <a:gd name="connsiteY0" fmla="*/ 356458 h 356458"/>
                <a:gd name="connsiteX1" fmla="*/ 6301793 w 6457513"/>
                <a:gd name="connsiteY1" fmla="*/ 0 h 356458"/>
                <a:gd name="connsiteX2" fmla="*/ 0 w 6457513"/>
                <a:gd name="connsiteY2" fmla="*/ 353296 h 356458"/>
                <a:gd name="connsiteX3" fmla="*/ 6457513 w 6457513"/>
                <a:gd name="connsiteY3" fmla="*/ 356458 h 356458"/>
                <a:gd name="connsiteX0" fmla="*/ 6448118 w 6448118"/>
                <a:gd name="connsiteY0" fmla="*/ 356458 h 357106"/>
                <a:gd name="connsiteX1" fmla="*/ 6292398 w 6448118"/>
                <a:gd name="connsiteY1" fmla="*/ 0 h 357106"/>
                <a:gd name="connsiteX2" fmla="*/ 0 w 6448118"/>
                <a:gd name="connsiteY2" fmla="*/ 357106 h 357106"/>
                <a:gd name="connsiteX3" fmla="*/ 6448118 w 6448118"/>
                <a:gd name="connsiteY3" fmla="*/ 356458 h 357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48118" h="357106">
                  <a:moveTo>
                    <a:pt x="6448118" y="356458"/>
                  </a:moveTo>
                  <a:lnTo>
                    <a:pt x="6292398" y="0"/>
                  </a:lnTo>
                  <a:lnTo>
                    <a:pt x="0" y="357106"/>
                  </a:lnTo>
                  <a:lnTo>
                    <a:pt x="6448118" y="356458"/>
                  </a:lnTo>
                  <a:close/>
                </a:path>
              </a:pathLst>
            </a:custGeom>
            <a:solidFill>
              <a:srgbClr val="B6B6B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sp>
          <p:nvSpPr>
            <p:cNvPr id="20" name="Volný tvar 17">
              <a:extLst>
                <a:ext uri="{FF2B5EF4-FFF2-40B4-BE49-F238E27FC236}">
                  <a16:creationId xmlns:a16="http://schemas.microsoft.com/office/drawing/2014/main" id="{B04F53DD-2D99-4AA3-A5FB-8CE9FD6F445E}"/>
                </a:ext>
              </a:extLst>
            </p:cNvPr>
            <p:cNvSpPr/>
            <p:nvPr userDrawn="1"/>
          </p:nvSpPr>
          <p:spPr>
            <a:xfrm>
              <a:off x="3635637" y="5417345"/>
              <a:ext cx="7056177" cy="239931"/>
            </a:xfrm>
            <a:custGeom>
              <a:avLst/>
              <a:gdLst>
                <a:gd name="connsiteX0" fmla="*/ 8186468 w 8186468"/>
                <a:gd name="connsiteY0" fmla="*/ 603849 h 603849"/>
                <a:gd name="connsiteX1" fmla="*/ 7962181 w 8186468"/>
                <a:gd name="connsiteY1" fmla="*/ 172528 h 603849"/>
                <a:gd name="connsiteX2" fmla="*/ 8074325 w 8186468"/>
                <a:gd name="connsiteY2" fmla="*/ 0 h 603849"/>
                <a:gd name="connsiteX3" fmla="*/ 112143 w 8186468"/>
                <a:gd name="connsiteY3" fmla="*/ 8626 h 603849"/>
                <a:gd name="connsiteX4" fmla="*/ 0 w 8186468"/>
                <a:gd name="connsiteY4" fmla="*/ 138023 h 603849"/>
                <a:gd name="connsiteX5" fmla="*/ 241540 w 8186468"/>
                <a:gd name="connsiteY5" fmla="*/ 603849 h 603849"/>
                <a:gd name="connsiteX6" fmla="*/ 8186468 w 8186468"/>
                <a:gd name="connsiteY6" fmla="*/ 603849 h 603849"/>
                <a:gd name="connsiteX0" fmla="*/ 8074325 w 8074325"/>
                <a:gd name="connsiteY0" fmla="*/ 603849 h 603849"/>
                <a:gd name="connsiteX1" fmla="*/ 7850038 w 8074325"/>
                <a:gd name="connsiteY1" fmla="*/ 172528 h 603849"/>
                <a:gd name="connsiteX2" fmla="*/ 7962182 w 8074325"/>
                <a:gd name="connsiteY2" fmla="*/ 0 h 603849"/>
                <a:gd name="connsiteX3" fmla="*/ 0 w 8074325"/>
                <a:gd name="connsiteY3" fmla="*/ 8626 h 603849"/>
                <a:gd name="connsiteX4" fmla="*/ 129397 w 8074325"/>
                <a:gd name="connsiteY4" fmla="*/ 603849 h 603849"/>
                <a:gd name="connsiteX5" fmla="*/ 8074325 w 8074325"/>
                <a:gd name="connsiteY5" fmla="*/ 603849 h 603849"/>
                <a:gd name="connsiteX0" fmla="*/ 8417032 w 8417032"/>
                <a:gd name="connsiteY0" fmla="*/ 603849 h 603849"/>
                <a:gd name="connsiteX1" fmla="*/ 8192745 w 8417032"/>
                <a:gd name="connsiteY1" fmla="*/ 172528 h 603849"/>
                <a:gd name="connsiteX2" fmla="*/ 8304889 w 8417032"/>
                <a:gd name="connsiteY2" fmla="*/ 0 h 603849"/>
                <a:gd name="connsiteX3" fmla="*/ 342707 w 8417032"/>
                <a:gd name="connsiteY3" fmla="*/ 8626 h 603849"/>
                <a:gd name="connsiteX4" fmla="*/ 0 w 8417032"/>
                <a:gd name="connsiteY4" fmla="*/ 601591 h 603849"/>
                <a:gd name="connsiteX5" fmla="*/ 8417032 w 8417032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1591 h 603849"/>
                <a:gd name="connsiteX5" fmla="*/ 8417269 w 8417269"/>
                <a:gd name="connsiteY5" fmla="*/ 603849 h 603849"/>
                <a:gd name="connsiteX0" fmla="*/ 8417269 w 8417269"/>
                <a:gd name="connsiteY0" fmla="*/ 603849 h 603849"/>
                <a:gd name="connsiteX1" fmla="*/ 8192982 w 8417269"/>
                <a:gd name="connsiteY1" fmla="*/ 172528 h 603849"/>
                <a:gd name="connsiteX2" fmla="*/ 8305126 w 8417269"/>
                <a:gd name="connsiteY2" fmla="*/ 0 h 603849"/>
                <a:gd name="connsiteX3" fmla="*/ 0 w 8417269"/>
                <a:gd name="connsiteY3" fmla="*/ 8626 h 603849"/>
                <a:gd name="connsiteX4" fmla="*/ 237 w 8417269"/>
                <a:gd name="connsiteY4" fmla="*/ 603849 h 603849"/>
                <a:gd name="connsiteX5" fmla="*/ 8417269 w 8417269"/>
                <a:gd name="connsiteY5" fmla="*/ 603849 h 603849"/>
                <a:gd name="connsiteX0" fmla="*/ 8491108 w 8491108"/>
                <a:gd name="connsiteY0" fmla="*/ 603849 h 603849"/>
                <a:gd name="connsiteX1" fmla="*/ 8192982 w 8491108"/>
                <a:gd name="connsiteY1" fmla="*/ 172528 h 603849"/>
                <a:gd name="connsiteX2" fmla="*/ 8305126 w 8491108"/>
                <a:gd name="connsiteY2" fmla="*/ 0 h 603849"/>
                <a:gd name="connsiteX3" fmla="*/ 0 w 8491108"/>
                <a:gd name="connsiteY3" fmla="*/ 8626 h 603849"/>
                <a:gd name="connsiteX4" fmla="*/ 237 w 8491108"/>
                <a:gd name="connsiteY4" fmla="*/ 603849 h 603849"/>
                <a:gd name="connsiteX5" fmla="*/ 8491108 w 8491108"/>
                <a:gd name="connsiteY5" fmla="*/ 603849 h 603849"/>
                <a:gd name="connsiteX0" fmla="*/ 8491108 w 8491108"/>
                <a:gd name="connsiteY0" fmla="*/ 595828 h 595828"/>
                <a:gd name="connsiteX1" fmla="*/ 8192982 w 8491108"/>
                <a:gd name="connsiteY1" fmla="*/ 164507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5828 h 595828"/>
                <a:gd name="connsiteX1" fmla="*/ 8335388 w 8491108"/>
                <a:gd name="connsiteY1" fmla="*/ 239370 h 595828"/>
                <a:gd name="connsiteX2" fmla="*/ 8455442 w 8491108"/>
                <a:gd name="connsiteY2" fmla="*/ 0 h 595828"/>
                <a:gd name="connsiteX3" fmla="*/ 0 w 8491108"/>
                <a:gd name="connsiteY3" fmla="*/ 605 h 595828"/>
                <a:gd name="connsiteX4" fmla="*/ 237 w 8491108"/>
                <a:gd name="connsiteY4" fmla="*/ 595828 h 595828"/>
                <a:gd name="connsiteX5" fmla="*/ 8491108 w 8491108"/>
                <a:gd name="connsiteY5" fmla="*/ 595828 h 595828"/>
                <a:gd name="connsiteX0" fmla="*/ 8491108 w 8491108"/>
                <a:gd name="connsiteY0" fmla="*/ 597306 h 597306"/>
                <a:gd name="connsiteX1" fmla="*/ 8335388 w 8491108"/>
                <a:gd name="connsiteY1" fmla="*/ 240848 h 597306"/>
                <a:gd name="connsiteX2" fmla="*/ 8455442 w 8491108"/>
                <a:gd name="connsiteY2" fmla="*/ 1478 h 597306"/>
                <a:gd name="connsiteX3" fmla="*/ 0 w 8491108"/>
                <a:gd name="connsiteY3" fmla="*/ 0 h 597306"/>
                <a:gd name="connsiteX4" fmla="*/ 237 w 8491108"/>
                <a:gd name="connsiteY4" fmla="*/ 597306 h 597306"/>
                <a:gd name="connsiteX5" fmla="*/ 8491108 w 8491108"/>
                <a:gd name="connsiteY5" fmla="*/ 597306 h 597306"/>
                <a:gd name="connsiteX0" fmla="*/ 3747792 w 8455442"/>
                <a:gd name="connsiteY0" fmla="*/ 0 h 601133"/>
                <a:gd name="connsiteX1" fmla="*/ 8335388 w 8455442"/>
                <a:gd name="connsiteY1" fmla="*/ 244675 h 601133"/>
                <a:gd name="connsiteX2" fmla="*/ 8455442 w 8455442"/>
                <a:gd name="connsiteY2" fmla="*/ 5305 h 601133"/>
                <a:gd name="connsiteX3" fmla="*/ 0 w 8455442"/>
                <a:gd name="connsiteY3" fmla="*/ 3827 h 601133"/>
                <a:gd name="connsiteX4" fmla="*/ 237 w 8455442"/>
                <a:gd name="connsiteY4" fmla="*/ 601133 h 601133"/>
                <a:gd name="connsiteX5" fmla="*/ 3747792 w 8455442"/>
                <a:gd name="connsiteY5" fmla="*/ 0 h 601133"/>
                <a:gd name="connsiteX0" fmla="*/ 3747792 w 8455442"/>
                <a:gd name="connsiteY0" fmla="*/ 0 h 244675"/>
                <a:gd name="connsiteX1" fmla="*/ 8335388 w 8455442"/>
                <a:gd name="connsiteY1" fmla="*/ 244675 h 244675"/>
                <a:gd name="connsiteX2" fmla="*/ 8455442 w 8455442"/>
                <a:gd name="connsiteY2" fmla="*/ 5305 h 244675"/>
                <a:gd name="connsiteX3" fmla="*/ 0 w 8455442"/>
                <a:gd name="connsiteY3" fmla="*/ 3827 h 244675"/>
                <a:gd name="connsiteX4" fmla="*/ 3747792 w 8455442"/>
                <a:gd name="connsiteY4" fmla="*/ 0 h 244675"/>
                <a:gd name="connsiteX0" fmla="*/ 0 w 4707650"/>
                <a:gd name="connsiteY0" fmla="*/ 0 h 244675"/>
                <a:gd name="connsiteX1" fmla="*/ 4587596 w 4707650"/>
                <a:gd name="connsiteY1" fmla="*/ 244675 h 244675"/>
                <a:gd name="connsiteX2" fmla="*/ 4707650 w 4707650"/>
                <a:gd name="connsiteY2" fmla="*/ 5305 h 244675"/>
                <a:gd name="connsiteX3" fmla="*/ 0 w 4707650"/>
                <a:gd name="connsiteY3" fmla="*/ 0 h 244675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707650 w 4707650"/>
                <a:gd name="connsiteY2" fmla="*/ 0 h 239370"/>
                <a:gd name="connsiteX3" fmla="*/ 0 w 4707650"/>
                <a:gd name="connsiteY3" fmla="*/ 410 h 239370"/>
                <a:gd name="connsiteX0" fmla="*/ 0 w 4707650"/>
                <a:gd name="connsiteY0" fmla="*/ 410 h 239370"/>
                <a:gd name="connsiteX1" fmla="*/ 4587596 w 4707650"/>
                <a:gd name="connsiteY1" fmla="*/ 239370 h 239370"/>
                <a:gd name="connsiteX2" fmla="*/ 4693213 w 4707650"/>
                <a:gd name="connsiteY2" fmla="*/ 25632 h 239370"/>
                <a:gd name="connsiteX3" fmla="*/ 4707650 w 4707650"/>
                <a:gd name="connsiteY3" fmla="*/ 0 h 239370"/>
                <a:gd name="connsiteX4" fmla="*/ 0 w 4707650"/>
                <a:gd name="connsiteY4" fmla="*/ 410 h 239370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957353 w 6957353"/>
                <a:gd name="connsiteY2" fmla="*/ 0 h 239932"/>
                <a:gd name="connsiteX3" fmla="*/ 4707650 w 6957353"/>
                <a:gd name="connsiteY3" fmla="*/ 562 h 239932"/>
                <a:gd name="connsiteX4" fmla="*/ 0 w 6957353"/>
                <a:gd name="connsiteY4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041363 w 6957353"/>
                <a:gd name="connsiteY2" fmla="*/ 92869 h 239932"/>
                <a:gd name="connsiteX3" fmla="*/ 6957353 w 6957353"/>
                <a:gd name="connsiteY3" fmla="*/ 0 h 239932"/>
                <a:gd name="connsiteX4" fmla="*/ 4707650 w 6957353"/>
                <a:gd name="connsiteY4" fmla="*/ 562 h 239932"/>
                <a:gd name="connsiteX5" fmla="*/ 0 w 6957353"/>
                <a:gd name="connsiteY5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6957353 w 6957353"/>
                <a:gd name="connsiteY2" fmla="*/ 2381 h 239932"/>
                <a:gd name="connsiteX3" fmla="*/ 6957353 w 6957353"/>
                <a:gd name="connsiteY3" fmla="*/ 0 h 239932"/>
                <a:gd name="connsiteX4" fmla="*/ 4707650 w 6957353"/>
                <a:gd name="connsiteY4" fmla="*/ 562 h 239932"/>
                <a:gd name="connsiteX5" fmla="*/ 0 w 6957353"/>
                <a:gd name="connsiteY5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5766567 w 6957353"/>
                <a:gd name="connsiteY2" fmla="*/ 123825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4958 w 6957353"/>
                <a:gd name="connsiteY2" fmla="*/ 4762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4958 w 6957353"/>
                <a:gd name="connsiteY2" fmla="*/ 4762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972 h 239932"/>
                <a:gd name="connsiteX1" fmla="*/ 4587596 w 6957353"/>
                <a:gd name="connsiteY1" fmla="*/ 239932 h 239932"/>
                <a:gd name="connsiteX2" fmla="*/ 4702610 w 6957353"/>
                <a:gd name="connsiteY2" fmla="*/ 7143 h 239932"/>
                <a:gd name="connsiteX3" fmla="*/ 6957353 w 6957353"/>
                <a:gd name="connsiteY3" fmla="*/ 2381 h 239932"/>
                <a:gd name="connsiteX4" fmla="*/ 6957353 w 6957353"/>
                <a:gd name="connsiteY4" fmla="*/ 0 h 239932"/>
                <a:gd name="connsiteX5" fmla="*/ 4707650 w 6957353"/>
                <a:gd name="connsiteY5" fmla="*/ 562 h 239932"/>
                <a:gd name="connsiteX6" fmla="*/ 0 w 6957353"/>
                <a:gd name="connsiteY6" fmla="*/ 972 h 239932"/>
                <a:gd name="connsiteX0" fmla="*/ 0 w 6957353"/>
                <a:gd name="connsiteY0" fmla="*/ 10497 h 249457"/>
                <a:gd name="connsiteX1" fmla="*/ 4587596 w 6957353"/>
                <a:gd name="connsiteY1" fmla="*/ 249457 h 249457"/>
                <a:gd name="connsiteX2" fmla="*/ 4702610 w 6957353"/>
                <a:gd name="connsiteY2" fmla="*/ 16668 h 249457"/>
                <a:gd name="connsiteX3" fmla="*/ 6957353 w 6957353"/>
                <a:gd name="connsiteY3" fmla="*/ 11906 h 249457"/>
                <a:gd name="connsiteX4" fmla="*/ 6955005 w 6957353"/>
                <a:gd name="connsiteY4" fmla="*/ 0 h 249457"/>
                <a:gd name="connsiteX5" fmla="*/ 4707650 w 6957353"/>
                <a:gd name="connsiteY5" fmla="*/ 10087 h 249457"/>
                <a:gd name="connsiteX6" fmla="*/ 0 w 6957353"/>
                <a:gd name="connsiteY6" fmla="*/ 10497 h 249457"/>
                <a:gd name="connsiteX0" fmla="*/ 0 w 6957353"/>
                <a:gd name="connsiteY0" fmla="*/ 10497 h 249457"/>
                <a:gd name="connsiteX1" fmla="*/ 4587596 w 6957353"/>
                <a:gd name="connsiteY1" fmla="*/ 249457 h 249457"/>
                <a:gd name="connsiteX2" fmla="*/ 4702610 w 6957353"/>
                <a:gd name="connsiteY2" fmla="*/ 16668 h 249457"/>
                <a:gd name="connsiteX3" fmla="*/ 6957353 w 6957353"/>
                <a:gd name="connsiteY3" fmla="*/ 16668 h 249457"/>
                <a:gd name="connsiteX4" fmla="*/ 6955005 w 6957353"/>
                <a:gd name="connsiteY4" fmla="*/ 0 h 249457"/>
                <a:gd name="connsiteX5" fmla="*/ 4707650 w 6957353"/>
                <a:gd name="connsiteY5" fmla="*/ 10087 h 249457"/>
                <a:gd name="connsiteX6" fmla="*/ 0 w 6957353"/>
                <a:gd name="connsiteY6" fmla="*/ 10497 h 249457"/>
                <a:gd name="connsiteX0" fmla="*/ 0 w 6957354"/>
                <a:gd name="connsiteY0" fmla="*/ 5734 h 244694"/>
                <a:gd name="connsiteX1" fmla="*/ 4587596 w 6957354"/>
                <a:gd name="connsiteY1" fmla="*/ 244694 h 244694"/>
                <a:gd name="connsiteX2" fmla="*/ 4702610 w 6957354"/>
                <a:gd name="connsiteY2" fmla="*/ 11905 h 244694"/>
                <a:gd name="connsiteX3" fmla="*/ 6957353 w 6957354"/>
                <a:gd name="connsiteY3" fmla="*/ 11905 h 244694"/>
                <a:gd name="connsiteX4" fmla="*/ 6957354 w 6957354"/>
                <a:gd name="connsiteY4" fmla="*/ 0 h 244694"/>
                <a:gd name="connsiteX5" fmla="*/ 4707650 w 6957354"/>
                <a:gd name="connsiteY5" fmla="*/ 5324 h 244694"/>
                <a:gd name="connsiteX6" fmla="*/ 0 w 6957354"/>
                <a:gd name="connsiteY6" fmla="*/ 5734 h 244694"/>
                <a:gd name="connsiteX0" fmla="*/ 0 w 6959702"/>
                <a:gd name="connsiteY0" fmla="*/ 3353 h 242313"/>
                <a:gd name="connsiteX1" fmla="*/ 4587596 w 6959702"/>
                <a:gd name="connsiteY1" fmla="*/ 242313 h 242313"/>
                <a:gd name="connsiteX2" fmla="*/ 4702610 w 6959702"/>
                <a:gd name="connsiteY2" fmla="*/ 9524 h 242313"/>
                <a:gd name="connsiteX3" fmla="*/ 6957353 w 6959702"/>
                <a:gd name="connsiteY3" fmla="*/ 9524 h 242313"/>
                <a:gd name="connsiteX4" fmla="*/ 6959702 w 6959702"/>
                <a:gd name="connsiteY4" fmla="*/ 0 h 242313"/>
                <a:gd name="connsiteX5" fmla="*/ 4707650 w 6959702"/>
                <a:gd name="connsiteY5" fmla="*/ 2943 h 242313"/>
                <a:gd name="connsiteX6" fmla="*/ 0 w 6959702"/>
                <a:gd name="connsiteY6" fmla="*/ 3353 h 242313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7353"/>
                <a:gd name="connsiteY0" fmla="*/ 971 h 239931"/>
                <a:gd name="connsiteX1" fmla="*/ 4587596 w 6957353"/>
                <a:gd name="connsiteY1" fmla="*/ 239931 h 239931"/>
                <a:gd name="connsiteX2" fmla="*/ 4702610 w 6957353"/>
                <a:gd name="connsiteY2" fmla="*/ 7142 h 239931"/>
                <a:gd name="connsiteX3" fmla="*/ 6957353 w 6957353"/>
                <a:gd name="connsiteY3" fmla="*/ 7142 h 239931"/>
                <a:gd name="connsiteX4" fmla="*/ 6955004 w 6957353"/>
                <a:gd name="connsiteY4" fmla="*/ 0 h 239931"/>
                <a:gd name="connsiteX5" fmla="*/ 4707650 w 6957353"/>
                <a:gd name="connsiteY5" fmla="*/ 561 h 239931"/>
                <a:gd name="connsiteX6" fmla="*/ 0 w 6957353"/>
                <a:gd name="connsiteY6" fmla="*/ 971 h 239931"/>
                <a:gd name="connsiteX0" fmla="*/ 0 w 6957353"/>
                <a:gd name="connsiteY0" fmla="*/ 971 h 239931"/>
                <a:gd name="connsiteX1" fmla="*/ 4587596 w 6957353"/>
                <a:gd name="connsiteY1" fmla="*/ 239931 h 239931"/>
                <a:gd name="connsiteX2" fmla="*/ 4702610 w 6957353"/>
                <a:gd name="connsiteY2" fmla="*/ 7142 h 239931"/>
                <a:gd name="connsiteX3" fmla="*/ 6957353 w 6957353"/>
                <a:gd name="connsiteY3" fmla="*/ 7142 h 239931"/>
                <a:gd name="connsiteX4" fmla="*/ 6957353 w 6957353"/>
                <a:gd name="connsiteY4" fmla="*/ 0 h 239931"/>
                <a:gd name="connsiteX5" fmla="*/ 4707650 w 6957353"/>
                <a:gd name="connsiteY5" fmla="*/ 561 h 239931"/>
                <a:gd name="connsiteX6" fmla="*/ 0 w 6957353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62050"/>
                <a:gd name="connsiteY0" fmla="*/ 971 h 239931"/>
                <a:gd name="connsiteX1" fmla="*/ 4587596 w 6962050"/>
                <a:gd name="connsiteY1" fmla="*/ 239931 h 239931"/>
                <a:gd name="connsiteX2" fmla="*/ 4702610 w 6962050"/>
                <a:gd name="connsiteY2" fmla="*/ 7142 h 239931"/>
                <a:gd name="connsiteX3" fmla="*/ 6957353 w 6962050"/>
                <a:gd name="connsiteY3" fmla="*/ 7142 h 239931"/>
                <a:gd name="connsiteX4" fmla="*/ 6962050 w 6962050"/>
                <a:gd name="connsiteY4" fmla="*/ 0 h 239931"/>
                <a:gd name="connsiteX5" fmla="*/ 4707650 w 6962050"/>
                <a:gd name="connsiteY5" fmla="*/ 561 h 239931"/>
                <a:gd name="connsiteX6" fmla="*/ 0 w 6962050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7353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  <a:gd name="connsiteX0" fmla="*/ 0 w 6959702"/>
                <a:gd name="connsiteY0" fmla="*/ 971 h 239931"/>
                <a:gd name="connsiteX1" fmla="*/ 4587596 w 6959702"/>
                <a:gd name="connsiteY1" fmla="*/ 239931 h 239931"/>
                <a:gd name="connsiteX2" fmla="*/ 4702610 w 6959702"/>
                <a:gd name="connsiteY2" fmla="*/ 7142 h 239931"/>
                <a:gd name="connsiteX3" fmla="*/ 6959702 w 6959702"/>
                <a:gd name="connsiteY3" fmla="*/ 7142 h 239931"/>
                <a:gd name="connsiteX4" fmla="*/ 6959702 w 6959702"/>
                <a:gd name="connsiteY4" fmla="*/ 0 h 239931"/>
                <a:gd name="connsiteX5" fmla="*/ 4707650 w 6959702"/>
                <a:gd name="connsiteY5" fmla="*/ 561 h 239931"/>
                <a:gd name="connsiteX6" fmla="*/ 0 w 6959702"/>
                <a:gd name="connsiteY6" fmla="*/ 971 h 2399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59702" h="239931">
                  <a:moveTo>
                    <a:pt x="0" y="971"/>
                  </a:moveTo>
                  <a:lnTo>
                    <a:pt x="4587596" y="239931"/>
                  </a:lnTo>
                  <a:lnTo>
                    <a:pt x="4702610" y="7142"/>
                  </a:lnTo>
                  <a:lnTo>
                    <a:pt x="6959702" y="7142"/>
                  </a:lnTo>
                  <a:lnTo>
                    <a:pt x="6959702" y="0"/>
                  </a:lnTo>
                  <a:lnTo>
                    <a:pt x="4707650" y="561"/>
                  </a:lnTo>
                  <a:lnTo>
                    <a:pt x="0" y="971"/>
                  </a:lnTo>
                  <a:close/>
                </a:path>
              </a:pathLst>
            </a:custGeom>
            <a:solidFill>
              <a:srgbClr val="C3C3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noProof="0" dirty="0">
                <a:latin typeface="SKODA Next" panose="020B0504020603020204" pitchFamily="34" charset="0"/>
              </a:endParaRPr>
            </a:p>
          </p:txBody>
        </p:sp>
        <p:pic>
          <p:nvPicPr>
            <p:cNvPr id="21" name="Obrázek 20">
              <a:extLst>
                <a:ext uri="{FF2B5EF4-FFF2-40B4-BE49-F238E27FC236}">
                  <a16:creationId xmlns:a16="http://schemas.microsoft.com/office/drawing/2014/main" id="{6F08015D-3938-43E9-9EFF-37D4E69CC5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24632" y="5537224"/>
              <a:ext cx="1724957" cy="360000"/>
            </a:xfrm>
            <a:prstGeom prst="rect">
              <a:avLst/>
            </a:prstGeom>
          </p:spPr>
        </p:pic>
      </p:grp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342850" y="1439562"/>
            <a:ext cx="10006115" cy="518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719894" y="7162496"/>
            <a:ext cx="6173596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 smtClean="0"/>
              <a:t>Prezentace PSW-V2, PSW-V/2, Kejmar Jiří, 15.11.2019</a:t>
            </a:r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342849" y="7162496"/>
            <a:ext cx="269960" cy="17996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342850" y="360287"/>
            <a:ext cx="10006115" cy="43190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66C17178-F6C0-4451-88DD-8E8D6537893C}"/>
              </a:ext>
            </a:extLst>
          </p:cNvPr>
          <p:cNvSpPr txBox="1"/>
          <p:nvPr userDrawn="1"/>
        </p:nvSpPr>
        <p:spPr>
          <a:xfrm>
            <a:off x="7560000" y="7354800"/>
            <a:ext cx="720000" cy="108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rmAutofit/>
          </a:bodyPr>
          <a:lstStyle/>
          <a:p>
            <a:pPr algn="r"/>
            <a:r>
              <a:rPr lang="en-GB" sz="700" noProof="0" dirty="0">
                <a:latin typeface="SKODA Next" panose="020B0504020603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086379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</p:sldLayoutIdLst>
  <p:hf hdr="0" dt="0"/>
  <p:txStyles>
    <p:titleStyle>
      <a:lvl1pPr algn="l" defTabSz="1043056" rtl="0" eaLnBrk="1" latinLnBrk="0" hangingPunct="1">
        <a:lnSpc>
          <a:spcPts val="3200"/>
        </a:lnSpc>
        <a:spcBef>
          <a:spcPct val="0"/>
        </a:spcBef>
        <a:buNone/>
        <a:defRPr sz="28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>
          <a:schemeClr val="bg1">
            <a:lumMod val="85000"/>
          </a:schemeClr>
        </a:buClr>
        <a:buSzPct val="10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27">
          <p15:clr>
            <a:srgbClr val="F26B43"/>
          </p15:clr>
        </p15:guide>
        <p15:guide id="2" pos="3255">
          <p15:clr>
            <a:srgbClr val="F26B43"/>
          </p15:clr>
        </p15:guide>
        <p15:guide id="3" pos="2393">
          <p15:clr>
            <a:srgbClr val="F26B43"/>
          </p15:clr>
        </p15:guide>
        <p15:guide id="4" pos="2166">
          <p15:clr>
            <a:srgbClr val="F26B43"/>
          </p15:clr>
        </p15:guide>
        <p15:guide id="5" pos="1304">
          <p15:clr>
            <a:srgbClr val="F26B43"/>
          </p15:clr>
        </p15:guide>
        <p15:guide id="6" pos="1077">
          <p15:clr>
            <a:srgbClr val="F26B43"/>
          </p15:clr>
        </p15:guide>
        <p15:guide id="7" pos="216">
          <p15:clr>
            <a:srgbClr val="F26B43"/>
          </p15:clr>
        </p15:guide>
        <p15:guide id="8" pos="3480">
          <p15:clr>
            <a:srgbClr val="F26B43"/>
          </p15:clr>
        </p15:guide>
        <p15:guide id="9" pos="4342">
          <p15:clr>
            <a:srgbClr val="F26B43"/>
          </p15:clr>
        </p15:guide>
        <p15:guide id="10" pos="4569">
          <p15:clr>
            <a:srgbClr val="F26B43"/>
          </p15:clr>
        </p15:guide>
        <p15:guide id="11" pos="5431">
          <p15:clr>
            <a:srgbClr val="F26B43"/>
          </p15:clr>
        </p15:guide>
        <p15:guide id="12" pos="5658">
          <p15:clr>
            <a:srgbClr val="F26B43"/>
          </p15:clr>
        </p15:guide>
        <p15:guide id="13" pos="6519">
          <p15:clr>
            <a:srgbClr val="F26B43"/>
          </p15:clr>
        </p15:guide>
        <p15:guide id="14" orient="horz" pos="907">
          <p15:clr>
            <a:srgbClr val="F26B43"/>
          </p15:clr>
        </p15:guide>
        <p15:guide id="15" orient="horz" pos="4172">
          <p15:clr>
            <a:srgbClr val="F26B43"/>
          </p15:clr>
        </p15:guide>
        <p15:guide id="16" orient="horz" pos="2471">
          <p15:clr>
            <a:srgbClr val="F26B43"/>
          </p15:clr>
        </p15:guide>
        <p15:guide id="17" orient="horz" pos="260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7.xml"/><Relationship Id="rId7" Type="http://schemas.openxmlformats.org/officeDocument/2006/relationships/image" Target="../media/image9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image" Target="../media/image10.JPG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7.xml"/><Relationship Id="rId7" Type="http://schemas.openxmlformats.org/officeDocument/2006/relationships/oleObject" Target="../embeddings/oleObject24.bin"/><Relationship Id="rId2" Type="http://schemas.openxmlformats.org/officeDocument/2006/relationships/tags" Target="../tags/tag3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9.PN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1.emf"/><Relationship Id="rId4" Type="http://schemas.openxmlformats.org/officeDocument/2006/relationships/image" Target="../media/image2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emf"/><Relationship Id="rId5" Type="http://schemas.openxmlformats.org/officeDocument/2006/relationships/image" Target="../media/image24.emf"/><Relationship Id="rId4" Type="http://schemas.openxmlformats.org/officeDocument/2006/relationships/image" Target="../media/image23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diagramData" Target="../diagrams/data1.xml"/><Relationship Id="rId18" Type="http://schemas.openxmlformats.org/officeDocument/2006/relationships/image" Target="../media/image11.emf"/><Relationship Id="rId3" Type="http://schemas.openxmlformats.org/officeDocument/2006/relationships/tags" Target="../tags/tag29.xml"/><Relationship Id="rId7" Type="http://schemas.microsoft.com/office/2007/relationships/hdphoto" Target="../media/hdphoto1.wdp"/><Relationship Id="rId12" Type="http://schemas.openxmlformats.org/officeDocument/2006/relationships/image" Target="../media/image9.emf"/><Relationship Id="rId17" Type="http://schemas.microsoft.com/office/2007/relationships/diagramDrawing" Target="../diagrams/drawing1.xml"/><Relationship Id="rId2" Type="http://schemas.openxmlformats.org/officeDocument/2006/relationships/tags" Target="../tags/tag28.xml"/><Relationship Id="rId16" Type="http://schemas.openxmlformats.org/officeDocument/2006/relationships/diagramColors" Target="../diagrams/colors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2.png"/><Relationship Id="rId11" Type="http://schemas.openxmlformats.org/officeDocument/2006/relationships/oleObject" Target="../embeddings/oleObject20.bin"/><Relationship Id="rId5" Type="http://schemas.openxmlformats.org/officeDocument/2006/relationships/notesSlide" Target="../notesSlides/notesSlide1.xml"/><Relationship Id="rId15" Type="http://schemas.openxmlformats.org/officeDocument/2006/relationships/diagramQuickStyle" Target="../diagrams/quickStyle1.xml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4.jpeg"/><Relationship Id="rId1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31.xml"/><Relationship Id="rId7" Type="http://schemas.openxmlformats.org/officeDocument/2006/relationships/image" Target="../media/image9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1.emf"/><Relationship Id="rId4" Type="http://schemas.openxmlformats.org/officeDocument/2006/relationships/slideLayout" Target="../slideLayouts/slideLayout6.xml"/><Relationship Id="rId9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5.xml"/><Relationship Id="rId7" Type="http://schemas.openxmlformats.org/officeDocument/2006/relationships/oleObject" Target="../embeddings/oleObject2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wmf"/><Relationship Id="rId5" Type="http://schemas.openxmlformats.org/officeDocument/2006/relationships/image" Target="../media/image16.png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alphaModFix amt="3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3240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Obdélník 9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cs-CZ" sz="3600" b="1" dirty="0">
              <a:latin typeface="SKODA Next" panose="020B0504020603020204" pitchFamily="34" charset="0"/>
              <a:ea typeface="Verdana" panose="020B0604030504040204" pitchFamily="34" charset="0"/>
              <a:cs typeface="Verdana" panose="020B0604030504040204" pitchFamily="34" charset="0"/>
              <a:sym typeface="SKODA Next" panose="020B050402060302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0264" y="1818825"/>
            <a:ext cx="8809736" cy="2339640"/>
          </a:xfrm>
        </p:spPr>
        <p:txBody>
          <a:bodyPr/>
          <a:lstStyle/>
          <a:p>
            <a:r>
              <a:rPr lang="cs-CZ" sz="4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avedení nového obráběcího centra do výroby přípravků a nástrojů pro </a:t>
            </a:r>
            <a:r>
              <a:rPr lang="cs-CZ" sz="4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tomotive</a:t>
            </a:r>
            <a:endParaRPr lang="cs-CZ" sz="4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Zástupný symbol pro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utor práce: Marek Mikulášek</a:t>
            </a:r>
            <a:endParaRPr lang="cs-CZ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14"/>
          </p:nvPr>
        </p:nvSpPr>
        <p:spPr>
          <a:xfrm>
            <a:off x="341947" y="7027491"/>
            <a:ext cx="5183231" cy="629933"/>
          </a:xfrm>
        </p:spPr>
        <p:txBody>
          <a:bodyPr/>
          <a:lstStyle/>
          <a:p>
            <a:r>
              <a:rPr lang="cs-CZ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ponent: Ing. Marek Šafář</a:t>
            </a:r>
          </a:p>
          <a:p>
            <a:r>
              <a:rPr lang="cs-CZ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Červen 2020 </a:t>
            </a:r>
          </a:p>
          <a:p>
            <a:endParaRPr lang="cs-CZ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cs-CZ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Zástupný symbol pro text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edoucí práce: Ing. Ján Majerník, PhD.</a:t>
            </a:r>
            <a:endParaRPr lang="cs-CZ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Zástupný symbol pro číslo snímku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1</a:t>
            </a:fld>
            <a:endParaRPr lang="cs-CZ" noProof="0" dirty="0"/>
          </a:p>
        </p:txBody>
      </p:sp>
      <p:sp>
        <p:nvSpPr>
          <p:cNvPr id="9" name="Zástupný symbol pro zápatí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noProof="0" smtClean="0"/>
              <a:t>Prezentace PSW-V2, PSW-V/2, Kejmar Jiří, 15.11.2019</a:t>
            </a:r>
            <a:endParaRPr lang="cs-CZ" noProof="0" dirty="0"/>
          </a:p>
        </p:txBody>
      </p:sp>
      <p:sp>
        <p:nvSpPr>
          <p:cNvPr id="11" name="TextovéPole 10"/>
          <p:cNvSpPr txBox="1"/>
          <p:nvPr/>
        </p:nvSpPr>
        <p:spPr>
          <a:xfrm>
            <a:off x="192024" y="56844"/>
            <a:ext cx="98938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ysoká škola technická a ekonomická v Českých Budějovicích</a:t>
            </a:r>
          </a:p>
          <a:p>
            <a:pPr algn="ctr"/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Ústav </a:t>
            </a:r>
            <a:r>
              <a:rPr lang="cs-CZ" sz="2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chnicko-technologický</a:t>
            </a:r>
            <a:endParaRPr lang="cs-CZ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4" name="Obrázek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0"/>
            <a:ext cx="885928" cy="8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898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916"/>
    </mc:Choice>
    <mc:Fallback xmlns="">
      <p:transition spd="slow" advTm="5916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Obrázek 9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1291" y="2610712"/>
            <a:ext cx="5926773" cy="3982721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2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délní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3200"/>
              </a:lnSpc>
              <a:spcBef>
                <a:spcPct val="0"/>
              </a:spcBef>
              <a:spcAft>
                <a:spcPct val="0"/>
              </a:spcAft>
            </a:pPr>
            <a:endParaRPr lang="cs-CZ" sz="2800" b="1" dirty="0">
              <a:latin typeface="SKODA Next" panose="020B0504020603020204" pitchFamily="34" charset="0"/>
              <a:ea typeface="Verdana" panose="020B0604030504040204" pitchFamily="34" charset="0"/>
              <a:cs typeface="Verdana" panose="020B0604030504040204" pitchFamily="34" charset="0"/>
              <a:sym typeface="SKODA Next" panose="020B0504020603020204" pitchFamily="34" charset="0"/>
            </a:endParaRPr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10</a:t>
            </a:fld>
            <a:endParaRPr lang="cs-CZ" dirty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12"/>
          </p:nvPr>
        </p:nvSpPr>
        <p:spPr>
          <a:xfrm>
            <a:off x="341948" y="1103222"/>
            <a:ext cx="7714931" cy="4708297"/>
          </a:xfrm>
        </p:spPr>
        <p:txBody>
          <a:bodyPr>
            <a:normAutofit/>
          </a:bodyPr>
          <a:lstStyle/>
          <a:p>
            <a:pPr marL="342900" indent="-342900">
              <a:buClrTx/>
              <a:buFont typeface="+mj-lt"/>
              <a:buAutoNum type="arabicPeriod"/>
            </a:pP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brobení odlitku lože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dlitek 1.2320, zušlechtěno na 1100MPa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řídavky na tvaru a funkčních plochách 10-15mm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změry </a:t>
            </a: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ože 1530x1320x510</a:t>
            </a: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endParaRPr lang="cs-CZ" sz="2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ClrTx/>
              <a:buFont typeface="+mj-lt"/>
              <a:buAutoNum type="arabicPeriod"/>
            </a:pP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dhadovaná pracnost 87 Nh</a:t>
            </a:r>
          </a:p>
          <a:p>
            <a:pPr marL="342900" indent="-342900">
              <a:buClrTx/>
              <a:buFont typeface="+mj-lt"/>
              <a:buAutoNum type="arabicPeriod"/>
            </a:pP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žadovaná přesnost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var ±0,05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librické otvory ±0,02</a:t>
            </a:r>
          </a:p>
          <a:p>
            <a:pPr lvl="2">
              <a:buClrTx/>
              <a:buFont typeface="Arial" panose="020B0604020202020204" pitchFamily="34" charset="0"/>
              <a:buChar char="•"/>
            </a:pP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statní otvory </a:t>
            </a: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±0,1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cs-CZ" dirty="0" smtClean="0"/>
              <a:t> </a:t>
            </a:r>
            <a:endParaRPr lang="cs-CZ" dirty="0"/>
          </a:p>
        </p:txBody>
      </p:sp>
      <p:sp>
        <p:nvSpPr>
          <p:cNvPr id="6" name="Nadpis 5"/>
          <p:cNvSpPr>
            <a:spLocks noGrp="1"/>
          </p:cNvSpPr>
          <p:nvPr>
            <p:ph type="title"/>
          </p:nvPr>
        </p:nvSpPr>
        <p:spPr>
          <a:xfrm>
            <a:off x="885928" y="243553"/>
            <a:ext cx="10006115" cy="431909"/>
          </a:xfrm>
        </p:spPr>
        <p:txBody>
          <a:bodyPr/>
          <a:lstStyle/>
          <a:p>
            <a:r>
              <a:rPr lang="cs-CZ" sz="4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ovací lože pro stroj </a:t>
            </a:r>
            <a:r>
              <a:rPr lang="cs-CZ" sz="4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IMILL 6535</a:t>
            </a:r>
            <a:endParaRPr lang="cs-CZ" sz="4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1" name="Obrázek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0"/>
            <a:ext cx="885928" cy="8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575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číslo snímku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11</a:t>
            </a:fld>
            <a:endParaRPr lang="cs-CZ" dirty="0"/>
          </a:p>
        </p:txBody>
      </p:sp>
      <p:pic>
        <p:nvPicPr>
          <p:cNvPr id="9" name="Obrázek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0764" y="630095"/>
            <a:ext cx="8095451" cy="2046680"/>
          </a:xfrm>
          <a:prstGeom prst="rect">
            <a:avLst/>
          </a:prstGeom>
        </p:spPr>
      </p:pic>
      <p:pic>
        <p:nvPicPr>
          <p:cNvPr id="15" name="Obrázek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9935" y="2966032"/>
            <a:ext cx="7057110" cy="3892126"/>
          </a:xfrm>
          <a:prstGeom prst="rect">
            <a:avLst/>
          </a:prstGeom>
        </p:spPr>
      </p:pic>
      <p:sp>
        <p:nvSpPr>
          <p:cNvPr id="10" name="Šipka dolů 9"/>
          <p:cNvSpPr/>
          <p:nvPr/>
        </p:nvSpPr>
        <p:spPr>
          <a:xfrm>
            <a:off x="9031685" y="2261584"/>
            <a:ext cx="396021" cy="415191"/>
          </a:xfrm>
          <a:prstGeom prst="down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TextovéPole 10"/>
          <p:cNvSpPr txBox="1"/>
          <p:nvPr/>
        </p:nvSpPr>
        <p:spPr>
          <a:xfrm>
            <a:off x="9452818" y="2261584"/>
            <a:ext cx="9669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000" dirty="0" smtClean="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63 %</a:t>
            </a:r>
            <a:endParaRPr lang="cs-CZ" sz="2000" dirty="0">
              <a:solidFill>
                <a:schemeClr val="accent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02364" y="198186"/>
            <a:ext cx="11408778" cy="431909"/>
          </a:xfrm>
        </p:spPr>
        <p:txBody>
          <a:bodyPr/>
          <a:lstStyle/>
          <a:p>
            <a:r>
              <a:rPr lang="cs-CZ" sz="4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rovnání obrobení součásti lože </a:t>
            </a:r>
            <a:endParaRPr lang="cs-CZ" sz="4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885928" cy="8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832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Obrázek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9442" y="3230880"/>
            <a:ext cx="4657304" cy="2568589"/>
          </a:xfrm>
          <a:prstGeom prst="rect">
            <a:avLst/>
          </a:prstGeom>
        </p:spPr>
      </p:pic>
      <p:pic>
        <p:nvPicPr>
          <p:cNvPr id="21" name="Obrázek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69" y="3230880"/>
            <a:ext cx="4657304" cy="2568589"/>
          </a:xfrm>
          <a:prstGeom prst="rect">
            <a:avLst/>
          </a:prstGeom>
        </p:spPr>
      </p:pic>
      <p:sp>
        <p:nvSpPr>
          <p:cNvPr id="3" name="Zástupný symbol pro číslo snímku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12</a:t>
            </a:fld>
            <a:endParaRPr lang="cs-CZ" dirty="0"/>
          </a:p>
        </p:txBody>
      </p:sp>
      <p:sp>
        <p:nvSpPr>
          <p:cNvPr id="13" name="Šipka dolů 12"/>
          <p:cNvSpPr/>
          <p:nvPr/>
        </p:nvSpPr>
        <p:spPr>
          <a:xfrm>
            <a:off x="9299658" y="2100571"/>
            <a:ext cx="428351" cy="462921"/>
          </a:xfrm>
          <a:prstGeom prst="down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4" name="TextovéPole 13"/>
          <p:cNvSpPr txBox="1"/>
          <p:nvPr/>
        </p:nvSpPr>
        <p:spPr>
          <a:xfrm>
            <a:off x="9728009" y="2131976"/>
            <a:ext cx="9669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2000" dirty="0" smtClean="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31 %</a:t>
            </a:r>
            <a:endParaRPr lang="cs-CZ" sz="2000" dirty="0">
              <a:solidFill>
                <a:schemeClr val="accent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85520" y="673637"/>
            <a:ext cx="8264662" cy="1838242"/>
          </a:xfrm>
          <a:prstGeom prst="rect">
            <a:avLst/>
          </a:prstGeom>
        </p:spPr>
      </p:pic>
      <p:sp>
        <p:nvSpPr>
          <p:cNvPr id="16" name="Nadpis 1"/>
          <p:cNvSpPr>
            <a:spLocks noGrp="1"/>
          </p:cNvSpPr>
          <p:nvPr>
            <p:ph type="title"/>
          </p:nvPr>
        </p:nvSpPr>
        <p:spPr>
          <a:xfrm>
            <a:off x="985520" y="215530"/>
            <a:ext cx="11408778" cy="431909"/>
          </a:xfrm>
        </p:spPr>
        <p:txBody>
          <a:bodyPr/>
          <a:lstStyle/>
          <a:p>
            <a:r>
              <a:rPr lang="cs-CZ" sz="4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rovnání obrobení součásti lože</a:t>
            </a:r>
            <a:endParaRPr lang="cs-CZ" sz="4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885928" cy="8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433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číslo snímku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13</a:t>
            </a:fld>
            <a:endParaRPr lang="cs-CZ" dirty="0"/>
          </a:p>
        </p:txBody>
      </p:sp>
      <p:sp>
        <p:nvSpPr>
          <p:cNvPr id="6" name="Nadpis 5"/>
          <p:cNvSpPr>
            <a:spLocks noGrp="1"/>
          </p:cNvSpPr>
          <p:nvPr>
            <p:ph type="title"/>
          </p:nvPr>
        </p:nvSpPr>
        <p:spPr>
          <a:xfrm>
            <a:off x="1054050" y="343509"/>
            <a:ext cx="10006115" cy="431909"/>
          </a:xfrm>
        </p:spPr>
        <p:txBody>
          <a:bodyPr/>
          <a:lstStyle/>
          <a:p>
            <a:r>
              <a:rPr lang="cs-CZ" sz="4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ávěrečné shrnutí</a:t>
            </a:r>
            <a:endParaRPr lang="cs-CZ" sz="4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Obdélník 6"/>
          <p:cNvSpPr/>
          <p:nvPr/>
        </p:nvSpPr>
        <p:spPr>
          <a:xfrm>
            <a:off x="199709" y="883037"/>
            <a:ext cx="9765174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arenR"/>
            </a:pPr>
            <a:r>
              <a:rPr lang="cs-CZ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produktivnění obrábění dílů  -      10 % - 35 %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</a:p>
          <a:p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</a:t>
            </a:r>
          </a:p>
          <a:p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dosaženo:	zvýšenou tuhostí  stroje</a:t>
            </a:r>
          </a:p>
          <a:p>
            <a:r>
              <a:rPr lang="cs-C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		zvýšenou přesností stroje    </a:t>
            </a:r>
          </a:p>
          <a:p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 	zvětšeným pracovním prostorem stroje </a:t>
            </a:r>
          </a:p>
          <a:p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 	3 výměnné nástrojové hlavy</a:t>
            </a:r>
          </a:p>
          <a:p>
            <a:r>
              <a:rPr lang="cs-C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	vyšší posuvy a  otáčky stroje  </a:t>
            </a:r>
            <a:endParaRPr lang="cs-CZ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cs-CZ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457200" indent="-457200">
              <a:buAutoNum type="arabicParenR" startAt="2"/>
            </a:pPr>
            <a:r>
              <a:rPr lang="cs-CZ" sz="2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výšení dosahované přesnosti obrábění </a:t>
            </a:r>
          </a:p>
          <a:p>
            <a:endParaRPr lang="cs-CZ" sz="20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          - </a:t>
            </a:r>
            <a:r>
              <a:rPr lang="cs-CZ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imill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3013     přesnost ±0,1 - ±0,2mm</a:t>
            </a:r>
          </a:p>
          <a:p>
            <a:r>
              <a:rPr lang="cs-C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         - </a:t>
            </a:r>
            <a:r>
              <a:rPr lang="cs-CZ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imill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6535     přesnost  ±0,05mm</a:t>
            </a:r>
          </a:p>
          <a:p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	 	</a:t>
            </a:r>
          </a:p>
          <a:p>
            <a:r>
              <a:rPr lang="cs-C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dosaženo: zvýšenou </a:t>
            </a:r>
            <a:r>
              <a:rPr lang="cs-C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uhostí  stroje</a:t>
            </a:r>
          </a:p>
          <a:p>
            <a:r>
              <a:rPr lang="cs-C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            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výšenou </a:t>
            </a:r>
            <a:r>
              <a:rPr lang="cs-C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řesností stroje	</a:t>
            </a:r>
          </a:p>
          <a:p>
            <a:r>
              <a:rPr lang="cs-C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            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většeným </a:t>
            </a:r>
            <a:r>
              <a:rPr lang="cs-C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acovním prostorem 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roje 		</a:t>
            </a:r>
          </a:p>
          <a:p>
            <a:endParaRPr lang="cs-CZ" sz="2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cs-C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                	</a:t>
            </a:r>
            <a:endParaRPr lang="cs-CZ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885928" cy="8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337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Z jakého důvodu se nedoporučuje obrábět železné materiály diamantovými nástroji</a:t>
            </a: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?</a:t>
            </a:r>
          </a:p>
          <a:p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 </a:t>
            </a: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pitole </a:t>
            </a:r>
            <a:r>
              <a:rPr lang="cs-CZ" sz="24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ysokorychlostní obrábění </a:t>
            </a: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sou zmínky o obrábění vysokými posuvnými </a:t>
            </a: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ychlostmi </a:t>
            </a:r>
            <a:r>
              <a:rPr lang="de-DE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de-DE" sz="2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f</a:t>
            </a:r>
            <a:r>
              <a:rPr lang="de-DE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. </a:t>
            </a:r>
            <a:r>
              <a:rPr lang="de-DE" sz="2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aké</a:t>
            </a:r>
            <a:r>
              <a:rPr lang="de-DE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sou</a:t>
            </a:r>
            <a:r>
              <a:rPr lang="de-DE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poručené</a:t>
            </a:r>
            <a:r>
              <a:rPr lang="de-DE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2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f</a:t>
            </a:r>
            <a:r>
              <a:rPr lang="de-DE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ro </a:t>
            </a:r>
            <a:r>
              <a:rPr lang="de-DE" sz="2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chnologii</a:t>
            </a:r>
            <a:r>
              <a:rPr lang="de-DE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HSC?</a:t>
            </a:r>
            <a:endParaRPr lang="cs-CZ" sz="2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cs-CZ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14</a:t>
            </a:fld>
            <a:endParaRPr lang="cs-CZ" dirty="0"/>
          </a:p>
        </p:txBody>
      </p:sp>
      <p:sp>
        <p:nvSpPr>
          <p:cNvPr id="6" name="Nadpis 5"/>
          <p:cNvSpPr>
            <a:spLocks noGrp="1"/>
          </p:cNvSpPr>
          <p:nvPr>
            <p:ph type="title"/>
          </p:nvPr>
        </p:nvSpPr>
        <p:spPr>
          <a:xfrm>
            <a:off x="1033730" y="299327"/>
            <a:ext cx="10006115" cy="431909"/>
          </a:xfrm>
        </p:spPr>
        <p:txBody>
          <a:bodyPr/>
          <a:lstStyle/>
          <a:p>
            <a:r>
              <a:rPr lang="cs-CZ" sz="4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plňující otázky</a:t>
            </a:r>
            <a:endParaRPr lang="cs-CZ" sz="4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885928" cy="8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908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30000"/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6"/>
          <p:cNvSpPr>
            <a:spLocks noGrp="1"/>
          </p:cNvSpPr>
          <p:nvPr>
            <p:ph type="title"/>
          </p:nvPr>
        </p:nvSpPr>
        <p:spPr>
          <a:xfrm>
            <a:off x="1866849" y="3151840"/>
            <a:ext cx="6271312" cy="540000"/>
          </a:xfrm>
        </p:spPr>
        <p:txBody>
          <a:bodyPr/>
          <a:lstStyle/>
          <a:p>
            <a:r>
              <a:rPr lang="cs-CZ" sz="40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ĚKUJI ZA POZORNOST </a:t>
            </a:r>
            <a:endParaRPr lang="cs-CZ" sz="40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15</a:t>
            </a:fld>
            <a:endParaRPr lang="cs-CZ" dirty="0"/>
          </a:p>
        </p:txBody>
      </p:sp>
      <p:pic>
        <p:nvPicPr>
          <p:cNvPr id="12" name="Obráze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885928" cy="8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5347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1"/>
          </p:nvPr>
        </p:nvSpPr>
        <p:spPr>
          <a:xfrm>
            <a:off x="342850" y="1097522"/>
            <a:ext cx="10006115" cy="5759647"/>
          </a:xfrm>
        </p:spPr>
        <p:txBody>
          <a:bodyPr>
            <a:normAutofit/>
          </a:bodyPr>
          <a:lstStyle/>
          <a:p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sobní zájem o téma</a:t>
            </a:r>
          </a:p>
          <a:p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ohlubování praktických znalostí </a:t>
            </a:r>
          </a:p>
          <a:p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vázání dlouhodobé spolupráce s firmou</a:t>
            </a:r>
          </a:p>
          <a:p>
            <a:endParaRPr lang="cs-CZ" sz="2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cs-CZ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2</a:t>
            </a:fld>
            <a:endParaRPr lang="cs-CZ" dirty="0"/>
          </a:p>
        </p:txBody>
      </p:sp>
      <p:sp>
        <p:nvSpPr>
          <p:cNvPr id="6" name="Nadpis 5"/>
          <p:cNvSpPr>
            <a:spLocks noGrp="1"/>
          </p:cNvSpPr>
          <p:nvPr>
            <p:ph type="title"/>
          </p:nvPr>
        </p:nvSpPr>
        <p:spPr>
          <a:xfrm>
            <a:off x="962610" y="360286"/>
            <a:ext cx="10006115" cy="431909"/>
          </a:xfrm>
        </p:spPr>
        <p:txBody>
          <a:bodyPr/>
          <a:lstStyle/>
          <a:p>
            <a:r>
              <a:rPr lang="cs-CZ" sz="4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ůvody</a:t>
            </a:r>
            <a:r>
              <a:rPr lang="cs-CZ" sz="4000" dirty="0" smtClean="0"/>
              <a:t> k řešení dané problematiky</a:t>
            </a:r>
            <a:endParaRPr lang="cs-CZ" sz="4000" dirty="0"/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885928" cy="8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5145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1"/>
          </p:nvPr>
        </p:nvSpPr>
        <p:spPr>
          <a:xfrm>
            <a:off x="342849" y="1192673"/>
            <a:ext cx="10006115" cy="5183686"/>
          </a:xfrm>
        </p:spPr>
        <p:txBody>
          <a:bodyPr>
            <a:normAutofit/>
          </a:bodyPr>
          <a:lstStyle/>
          <a:p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ýza zavedení CNC </a:t>
            </a: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bráběcího centra </a:t>
            </a: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e výrobě nástrojů a přípravků pro automobilový </a:t>
            </a: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ůmysl</a:t>
            </a:r>
          </a:p>
          <a:p>
            <a:endParaRPr lang="cs-CZ" sz="2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</a:t>
            </a: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ředstavení </a:t>
            </a: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ddělení PSW-V její náplň </a:t>
            </a: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áce</a:t>
            </a: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uvnitř ŠKODA AUTO</a:t>
            </a:r>
            <a:endParaRPr lang="cs-CZ" sz="2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ýza portfolia obráběcích možností v rámci PSW-V</a:t>
            </a:r>
            <a:endParaRPr lang="cs-CZ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rovnání technických parametrů obráběcích center</a:t>
            </a:r>
          </a:p>
          <a:p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rovnání obrobení konkrétní součásti TRIMLL3013/TRIMILL6535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3</a:t>
            </a:fld>
            <a:endParaRPr lang="cs-CZ" dirty="0"/>
          </a:p>
        </p:txBody>
      </p:sp>
      <p:sp>
        <p:nvSpPr>
          <p:cNvPr id="6" name="Nadpis 5"/>
          <p:cNvSpPr>
            <a:spLocks noGrp="1"/>
          </p:cNvSpPr>
          <p:nvPr>
            <p:ph type="title"/>
          </p:nvPr>
        </p:nvSpPr>
        <p:spPr>
          <a:xfrm>
            <a:off x="1028650" y="289400"/>
            <a:ext cx="10006115" cy="431909"/>
          </a:xfrm>
        </p:spPr>
        <p:txBody>
          <a:bodyPr/>
          <a:lstStyle/>
          <a:p>
            <a:r>
              <a:rPr lang="cs-CZ" sz="4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íl práce</a:t>
            </a:r>
            <a:endParaRPr lang="cs-CZ" sz="4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885928" cy="8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32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887"/>
    </mc:Choice>
    <mc:Fallback xmlns="">
      <p:transition spd="slow" advTm="5887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zhovory s odbornými pracovníky</a:t>
            </a:r>
          </a:p>
          <a:p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tody sběru dat </a:t>
            </a:r>
          </a:p>
          <a:p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ýza a porovnání dat</a:t>
            </a:r>
          </a:p>
          <a:p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Úprava modelů a výkresové dokumentace </a:t>
            </a:r>
          </a:p>
          <a:p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NC programování a simulace </a:t>
            </a:r>
          </a:p>
          <a:p>
            <a:pPr marL="0" indent="0">
              <a:buNone/>
            </a:pPr>
            <a:endParaRPr lang="cs-CZ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4</a:t>
            </a:fld>
            <a:endParaRPr lang="cs-CZ" dirty="0"/>
          </a:p>
        </p:txBody>
      </p:sp>
      <p:sp>
        <p:nvSpPr>
          <p:cNvPr id="6" name="Nadpis 5"/>
          <p:cNvSpPr>
            <a:spLocks noGrp="1"/>
          </p:cNvSpPr>
          <p:nvPr>
            <p:ph type="title"/>
          </p:nvPr>
        </p:nvSpPr>
        <p:spPr>
          <a:xfrm>
            <a:off x="972770" y="299327"/>
            <a:ext cx="10006115" cy="431909"/>
          </a:xfrm>
        </p:spPr>
        <p:txBody>
          <a:bodyPr/>
          <a:lstStyle/>
          <a:p>
            <a:r>
              <a:rPr lang="cs-CZ" sz="4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užité metody</a:t>
            </a:r>
            <a:endParaRPr lang="cs-CZ" sz="4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885928" cy="8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5984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/>
          <p:cNvSpPr/>
          <p:nvPr/>
        </p:nvSpPr>
        <p:spPr>
          <a:xfrm>
            <a:off x="738362" y="1322969"/>
            <a:ext cx="4319573" cy="25917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5" name="Obrázek 24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717" y="1704431"/>
            <a:ext cx="3724349" cy="1818462"/>
          </a:xfrm>
          <a:prstGeom prst="rect">
            <a:avLst/>
          </a:prstGeom>
        </p:spPr>
      </p:pic>
      <p:sp>
        <p:nvSpPr>
          <p:cNvPr id="9" name="Obdélník 8"/>
          <p:cNvSpPr/>
          <p:nvPr/>
        </p:nvSpPr>
        <p:spPr>
          <a:xfrm>
            <a:off x="738362" y="3986706"/>
            <a:ext cx="4319573" cy="25917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23" name="Picture 1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1" t="1496" r="6092" b="43941"/>
          <a:stretch/>
        </p:blipFill>
        <p:spPr bwMode="auto">
          <a:xfrm>
            <a:off x="991078" y="4354661"/>
            <a:ext cx="3831159" cy="1830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Obdélník 9"/>
          <p:cNvSpPr/>
          <p:nvPr/>
        </p:nvSpPr>
        <p:spPr>
          <a:xfrm>
            <a:off x="5154383" y="1322969"/>
            <a:ext cx="4319573" cy="25917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21" name="Obrázek 11" descr="Image1.jp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1738" y="1498119"/>
            <a:ext cx="2975902" cy="2231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bdélník 7"/>
          <p:cNvSpPr/>
          <p:nvPr/>
        </p:nvSpPr>
        <p:spPr>
          <a:xfrm>
            <a:off x="5129927" y="3986706"/>
            <a:ext cx="4319573" cy="25917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3" name="Obrázek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61120" y="4310044"/>
            <a:ext cx="3580690" cy="1991186"/>
          </a:xfrm>
          <a:prstGeom prst="rect">
            <a:avLst/>
          </a:prstGeom>
        </p:spPr>
      </p:pic>
      <p:graphicFrame>
        <p:nvGraphicFramePr>
          <p:cNvPr id="27" name="Objek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1940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0" name="think-cell Slide" r:id="rId11" imgW="353" imgH="353" progId="TCLayout.ActiveDocument.1">
                  <p:embed/>
                </p:oleObj>
              </mc:Choice>
              <mc:Fallback>
                <p:oleObj name="think-cell Slide" r:id="rId11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délník 6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cs-CZ" sz="2800" b="1" dirty="0">
              <a:latin typeface="SKODA Next" panose="020B0504020603020204" pitchFamily="34" charset="0"/>
              <a:ea typeface="Verdana" panose="020B0604030504040204" pitchFamily="34" charset="0"/>
              <a:cs typeface="Verdana" panose="020B0604030504040204" pitchFamily="34" charset="0"/>
              <a:sym typeface="SKODA Next" panose="020B0504020603020204" pitchFamily="34" charset="0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5</a:t>
            </a:fld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71680" y="254724"/>
            <a:ext cx="10006115" cy="431909"/>
          </a:xfrm>
        </p:spPr>
        <p:txBody>
          <a:bodyPr/>
          <a:lstStyle/>
          <a:p>
            <a:r>
              <a:rPr lang="cs-CZ" sz="4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lavní činnosti PSW-V</a:t>
            </a:r>
            <a:endParaRPr lang="cs-CZ" sz="4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3" name="Tabulk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4023554"/>
              </p:ext>
            </p:extLst>
          </p:nvPr>
        </p:nvGraphicFramePr>
        <p:xfrm>
          <a:off x="5003607" y="3474421"/>
          <a:ext cx="685656" cy="161923"/>
        </p:xfrm>
        <a:graphic>
          <a:graphicData uri="http://schemas.openxmlformats.org/drawingml/2006/table">
            <a:tbl>
              <a:tblPr/>
              <a:tblGrid>
                <a:gridCol w="6856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61891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9523" marR="9523" marT="952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8" name="Diagram 17"/>
          <p:cNvGraphicFramePr/>
          <p:nvPr>
            <p:extLst>
              <p:ext uri="{D42A27DB-BD31-4B8C-83A1-F6EECF244321}">
                <p14:modId xmlns:p14="http://schemas.microsoft.com/office/powerpoint/2010/main" val="1105825426"/>
              </p:ext>
            </p:extLst>
          </p:nvPr>
        </p:nvGraphicFramePr>
        <p:xfrm>
          <a:off x="2856293" y="2875159"/>
          <a:ext cx="4446948" cy="20912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pic>
        <p:nvPicPr>
          <p:cNvPr id="28" name="Obrázek 27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885928" cy="8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446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62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cs-CZ" sz="2800" b="1" dirty="0">
              <a:latin typeface="SKODA Next" panose="020B0504020603020204" pitchFamily="34" charset="0"/>
              <a:ea typeface="Verdana" panose="020B0604030504040204" pitchFamily="34" charset="0"/>
              <a:cs typeface="Verdana" panose="020B0604030504040204" pitchFamily="34" charset="0"/>
              <a:sym typeface="SKODA Next" panose="020B0504020603020204" pitchFamily="34" charset="0"/>
            </a:endParaRPr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6</a:t>
            </a:fld>
            <a:endParaRPr lang="cs-CZ" dirty="0"/>
          </a:p>
        </p:txBody>
      </p:sp>
      <p:graphicFrame>
        <p:nvGraphicFramePr>
          <p:cNvPr id="70" name="Zástupný symbol pro obsah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74264536"/>
              </p:ext>
            </p:extLst>
          </p:nvPr>
        </p:nvGraphicFramePr>
        <p:xfrm>
          <a:off x="3480955" y="1662546"/>
          <a:ext cx="10474035" cy="6026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" name="Zástupný symbol pro text 3"/>
          <p:cNvSpPr txBox="1">
            <a:spLocks/>
          </p:cNvSpPr>
          <p:nvPr/>
        </p:nvSpPr>
        <p:spPr>
          <a:xfrm>
            <a:off x="612809" y="1058130"/>
            <a:ext cx="4913947" cy="25043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1043056" rtl="0" eaLnBrk="1" latinLnBrk="0" hangingPunct="1">
              <a:lnSpc>
                <a:spcPct val="115000"/>
              </a:lnSpc>
              <a:spcBef>
                <a:spcPts val="0"/>
              </a:spcBef>
              <a:buClr>
                <a:schemeClr val="bg1">
                  <a:lumMod val="85000"/>
                </a:schemeClr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  <a:lvl2pPr marL="360000" indent="-180000" algn="l" defTabSz="1043056" rtl="0" eaLnBrk="1" latinLnBrk="0" hangingPunct="1">
              <a:lnSpc>
                <a:spcPct val="115000"/>
              </a:lnSpc>
              <a:spcBef>
                <a:spcPts val="0"/>
              </a:spcBef>
              <a:buClr>
                <a:schemeClr val="bg1">
                  <a:lumMod val="85000"/>
                </a:schemeClr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2pPr>
            <a:lvl3pPr marL="540000" indent="-180000" algn="l" defTabSz="1043056" rtl="0" eaLnBrk="1" latinLnBrk="0" hangingPunct="1">
              <a:lnSpc>
                <a:spcPct val="115000"/>
              </a:lnSpc>
              <a:spcBef>
                <a:spcPts val="0"/>
              </a:spcBef>
              <a:buClr>
                <a:schemeClr val="bg1">
                  <a:lumMod val="85000"/>
                </a:schemeClr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3pPr>
            <a:lvl4pPr marL="720000" indent="-180000" algn="l" defTabSz="1043056" rtl="0" eaLnBrk="1" latinLnBrk="0" hangingPunct="1">
              <a:lnSpc>
                <a:spcPct val="115000"/>
              </a:lnSpc>
              <a:spcBef>
                <a:spcPts val="0"/>
              </a:spcBef>
              <a:buClr>
                <a:schemeClr val="bg1">
                  <a:lumMod val="85000"/>
                </a:schemeClr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4pPr>
            <a:lvl5pPr marL="900000" indent="-180000" algn="l" defTabSz="1043056" rtl="0" eaLnBrk="1" latinLnBrk="0" hangingPunct="1">
              <a:lnSpc>
                <a:spcPct val="115000"/>
              </a:lnSpc>
              <a:spcBef>
                <a:spcPts val="0"/>
              </a:spcBef>
              <a:buClr>
                <a:schemeClr val="bg1">
                  <a:lumMod val="85000"/>
                </a:schemeClr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5pPr>
            <a:lvl6pPr marL="2868404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89932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911460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32987" indent="-260764" algn="l" defTabSz="104305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2000" b="1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ozdělení zakázek 2019</a:t>
            </a:r>
            <a:endParaRPr lang="cs-CZ" sz="2000" u="sng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None/>
            </a:pP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1%  Projekty ŠKODA (SK370, SK38x,..)</a:t>
            </a:r>
          </a:p>
          <a:p>
            <a:pPr marL="0" indent="0">
              <a:buNone/>
            </a:pP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8%  Projekty Indie </a:t>
            </a:r>
          </a:p>
          <a:p>
            <a:pPr marL="0" indent="0">
              <a:buNone/>
            </a:pP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8%  Externí zákazníci </a:t>
            </a:r>
          </a:p>
          <a:p>
            <a:pPr marL="0" indent="0">
              <a:buNone/>
            </a:pPr>
            <a:r>
              <a:rPr lang="cs-C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%  Vývoj </a:t>
            </a:r>
            <a:r>
              <a:rPr lang="cs-CZ" sz="20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Česana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prototypové nástroje)</a:t>
            </a:r>
          </a:p>
          <a:p>
            <a:pPr marL="0" indent="0">
              <a:buNone/>
            </a:pPr>
            <a:r>
              <a:rPr lang="cs-C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9%  Údržby ŠKODA, UNI díly</a:t>
            </a:r>
          </a:p>
          <a:p>
            <a:pPr marL="0" indent="0">
              <a:buNone/>
            </a:pPr>
            <a:r>
              <a:rPr lang="cs-CZ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cs-CZ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2%  Motorsport</a:t>
            </a:r>
            <a:endParaRPr lang="cs-CZ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1033730" y="273187"/>
            <a:ext cx="5859760" cy="431909"/>
          </a:xfrm>
        </p:spPr>
        <p:txBody>
          <a:bodyPr/>
          <a:lstStyle/>
          <a:p>
            <a:r>
              <a:rPr lang="cs-CZ" sz="4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řehled výroby PSW-V</a:t>
            </a:r>
            <a:r>
              <a:rPr lang="cs-CZ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cs-CZ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cs-CZ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7" name="Graf 6"/>
          <p:cNvGraphicFramePr/>
          <p:nvPr>
            <p:extLst>
              <p:ext uri="{D42A27DB-BD31-4B8C-83A1-F6EECF244321}">
                <p14:modId xmlns:p14="http://schemas.microsoft.com/office/powerpoint/2010/main" val="3789189862"/>
              </p:ext>
            </p:extLst>
          </p:nvPr>
        </p:nvGraphicFramePr>
        <p:xfrm>
          <a:off x="-1310470" y="3267759"/>
          <a:ext cx="6167121" cy="3978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14" name="Obrázek 1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0"/>
            <a:ext cx="885928" cy="8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844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4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cs-CZ" sz="2800" b="1" dirty="0">
              <a:latin typeface="SKODA Next" panose="020B0504020603020204" pitchFamily="34" charset="0"/>
              <a:ea typeface="Verdana" panose="020B0604030504040204" pitchFamily="34" charset="0"/>
              <a:cs typeface="Verdana" panose="020B0604030504040204" pitchFamily="34" charset="0"/>
              <a:sym typeface="SKODA Next" panose="020B0504020603020204" pitchFamily="34" charset="0"/>
            </a:endParaRPr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7</a:t>
            </a:fld>
            <a:endParaRPr lang="cs-CZ" dirty="0"/>
          </a:p>
        </p:txBody>
      </p:sp>
      <p:sp>
        <p:nvSpPr>
          <p:cNvPr id="6" name="Nadpis 5"/>
          <p:cNvSpPr>
            <a:spLocks noGrp="1"/>
          </p:cNvSpPr>
          <p:nvPr>
            <p:ph type="title"/>
          </p:nvPr>
        </p:nvSpPr>
        <p:spPr>
          <a:xfrm>
            <a:off x="994878" y="250422"/>
            <a:ext cx="10006115" cy="431909"/>
          </a:xfrm>
        </p:spPr>
        <p:txBody>
          <a:bodyPr/>
          <a:lstStyle/>
          <a:p>
            <a:r>
              <a:rPr lang="cs-CZ" sz="4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rtfolio strojů NC a CNC strojů</a:t>
            </a:r>
          </a:p>
        </p:txBody>
      </p:sp>
      <p:sp>
        <p:nvSpPr>
          <p:cNvPr id="7" name="Zástupný symbol pro text 6"/>
          <p:cNvSpPr>
            <a:spLocks noGrp="1"/>
          </p:cNvSpPr>
          <p:nvPr>
            <p:ph type="body" sz="quarter" idx="12"/>
          </p:nvPr>
        </p:nvSpPr>
        <p:spPr>
          <a:xfrm>
            <a:off x="341950" y="1439560"/>
            <a:ext cx="8954450" cy="5183048"/>
          </a:xfrm>
        </p:spPr>
        <p:txBody>
          <a:bodyPr>
            <a:normAutofit/>
          </a:bodyPr>
          <a:lstStyle/>
          <a:p>
            <a:pPr marL="0" indent="0">
              <a:buClrTx/>
              <a:buNone/>
            </a:pP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x	DMU DECKEL 5ax (Heidenhein)</a:t>
            </a:r>
          </a:p>
          <a:p>
            <a:pPr marL="0" indent="0">
              <a:buClrTx/>
              <a:buNone/>
            </a:pP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x	TAJMAC </a:t>
            </a: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ax (Heidenhein)</a:t>
            </a:r>
            <a:endParaRPr lang="cs-CZ" sz="2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ClrTx/>
              <a:buNone/>
            </a:pP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x	TRIMILL 5ax (FIDIA)</a:t>
            </a:r>
          </a:p>
          <a:p>
            <a:pPr marL="0" indent="0">
              <a:buClrTx/>
              <a:buNone/>
            </a:pP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x	TRIMILL </a:t>
            </a: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M6535 </a:t>
            </a: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idenhein)</a:t>
            </a:r>
            <a:endParaRPr lang="cs-CZ" sz="2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ClrTx/>
              <a:buNone/>
            </a:pP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x	TOS PRIMA </a:t>
            </a: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ax (Heidenhein)</a:t>
            </a:r>
            <a:endParaRPr lang="cs-CZ" sz="2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ClrTx/>
              <a:buNone/>
            </a:pP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x	WKV </a:t>
            </a:r>
            <a:r>
              <a:rPr lang="cs-CZ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00 (Heidenhein)</a:t>
            </a:r>
            <a:endParaRPr lang="cs-CZ" sz="2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ClrTx/>
              <a:buNone/>
            </a:pPr>
            <a:r>
              <a:rPr lang="cs-CZ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x	Brus na plocho (Favretto / ELB)</a:t>
            </a:r>
          </a:p>
          <a:p>
            <a:pPr>
              <a:buClrTx/>
            </a:pPr>
            <a:endParaRPr lang="cs-CZ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0" indent="0">
              <a:buClrTx/>
              <a:buNone/>
            </a:pPr>
            <a:endParaRPr lang="cs-CZ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4" name="Obrázek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885928" cy="883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938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ázek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4698" y="502792"/>
            <a:ext cx="1617525" cy="1143177"/>
          </a:xfrm>
          <a:prstGeom prst="rect">
            <a:avLst/>
          </a:prstGeom>
        </p:spPr>
      </p:pic>
      <p:pic>
        <p:nvPicPr>
          <p:cNvPr id="12" name="Picture 2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3172" y="502792"/>
            <a:ext cx="1412296" cy="1117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8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délník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cs-CZ" sz="2800" b="1" dirty="0">
              <a:latin typeface="SKODA Next" panose="020B0504020603020204" pitchFamily="34" charset="0"/>
              <a:ea typeface="Verdana" panose="020B0604030504040204" pitchFamily="34" charset="0"/>
              <a:cs typeface="Verdana" panose="020B0604030504040204" pitchFamily="34" charset="0"/>
              <a:sym typeface="SKODA Next" panose="020B0504020603020204" pitchFamily="34" charset="0"/>
            </a:endParaRPr>
          </a:p>
        </p:txBody>
      </p:sp>
      <p:sp>
        <p:nvSpPr>
          <p:cNvPr id="2" name="Zástupný symbol pro číslo snímku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8</a:t>
            </a:fld>
            <a:endParaRPr lang="cs-CZ" dirty="0"/>
          </a:p>
        </p:txBody>
      </p:sp>
      <p:sp>
        <p:nvSpPr>
          <p:cNvPr id="5" name="Nadpis 4"/>
          <p:cNvSpPr>
            <a:spLocks noGrp="1"/>
          </p:cNvSpPr>
          <p:nvPr>
            <p:ph type="title"/>
          </p:nvPr>
        </p:nvSpPr>
        <p:spPr>
          <a:xfrm>
            <a:off x="84895" y="135162"/>
            <a:ext cx="10520222" cy="431909"/>
          </a:xfrm>
        </p:spPr>
        <p:txBody>
          <a:bodyPr/>
          <a:lstStyle/>
          <a:p>
            <a:r>
              <a:rPr lang="cs-CZ" sz="4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rovnání TRIMILL 3013/TRIMILL 6535</a:t>
            </a:r>
            <a:endParaRPr lang="cs-CZ" sz="4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7866318"/>
              </p:ext>
            </p:extLst>
          </p:nvPr>
        </p:nvGraphicFramePr>
        <p:xfrm>
          <a:off x="612809" y="1691467"/>
          <a:ext cx="8924385" cy="516767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605879">
                  <a:extLst>
                    <a:ext uri="{9D8B030D-6E8A-4147-A177-3AD203B41FA5}">
                      <a16:colId xmlns:a16="http://schemas.microsoft.com/office/drawing/2014/main" val="3568142768"/>
                    </a:ext>
                  </a:extLst>
                </a:gridCol>
                <a:gridCol w="1975107">
                  <a:extLst>
                    <a:ext uri="{9D8B030D-6E8A-4147-A177-3AD203B41FA5}">
                      <a16:colId xmlns:a16="http://schemas.microsoft.com/office/drawing/2014/main" val="4103058086"/>
                    </a:ext>
                  </a:extLst>
                </a:gridCol>
                <a:gridCol w="4343399">
                  <a:extLst>
                    <a:ext uri="{9D8B030D-6E8A-4147-A177-3AD203B41FA5}">
                      <a16:colId xmlns:a16="http://schemas.microsoft.com/office/drawing/2014/main" val="92921776"/>
                    </a:ext>
                  </a:extLst>
                </a:gridCol>
              </a:tblGrid>
              <a:tr h="334723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Parametr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TRIMILL 3013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TRIMILL 6535</a:t>
                      </a:r>
                      <a:endParaRPr lang="cs-CZ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27626089"/>
                  </a:ext>
                </a:extLst>
              </a:tr>
              <a:tr h="334723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Řídící systém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FIDIA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HEIDENHEIN</a:t>
                      </a:r>
                      <a:endParaRPr lang="cs-CZ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6753430"/>
                  </a:ext>
                </a:extLst>
              </a:tr>
              <a:tr h="334723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Rozměry stolu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1 800 x 1 800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7 000 x 3 80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7800297"/>
                  </a:ext>
                </a:extLst>
              </a:tr>
              <a:tr h="334723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Otáčení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Stůl 0 - 360° 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10430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dirty="0" smtClean="0"/>
                        <a:t>Hlavy ± 240 °</a:t>
                      </a:r>
                      <a:endParaRPr lang="cs-CZ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82188151"/>
                  </a:ext>
                </a:extLst>
              </a:tr>
              <a:tr h="334723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Osa X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 3 000 mm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6 500 mm</a:t>
                      </a:r>
                      <a:endParaRPr lang="cs-CZ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71153460"/>
                  </a:ext>
                </a:extLst>
              </a:tr>
              <a:tr h="334723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Osa Y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1 300 mm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3 500 mm</a:t>
                      </a:r>
                      <a:endParaRPr lang="cs-CZ" sz="1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88484774"/>
                  </a:ext>
                </a:extLst>
              </a:tr>
              <a:tr h="334723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Osa Z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1 000 mm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1 500 m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0216109"/>
                  </a:ext>
                </a:extLst>
              </a:tr>
              <a:tr h="334723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Rozteč mezi stojany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2 200 mm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5 200 mm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77239952"/>
                  </a:ext>
                </a:extLst>
              </a:tr>
              <a:tr h="836808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Výkon vřetena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25 kW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Hrubovací 	  52 kW</a:t>
                      </a:r>
                    </a:p>
                    <a:p>
                      <a:pPr algn="ctr"/>
                      <a:r>
                        <a:rPr lang="cs-CZ" sz="1800" dirty="0" smtClean="0"/>
                        <a:t>Univerzální	  40 kW</a:t>
                      </a:r>
                    </a:p>
                    <a:p>
                      <a:pPr algn="ctr"/>
                      <a:r>
                        <a:rPr lang="cs-CZ" sz="1800" dirty="0" smtClean="0"/>
                        <a:t>Dokončovací	</a:t>
                      </a:r>
                      <a:r>
                        <a:rPr lang="cs-CZ" sz="1800" baseline="0" dirty="0" smtClean="0"/>
                        <a:t>  29 kW</a:t>
                      </a:r>
                      <a:endParaRPr lang="cs-CZ" sz="180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00683246"/>
                  </a:ext>
                </a:extLst>
              </a:tr>
              <a:tr h="836808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Otáčky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10 000 </a:t>
                      </a:r>
                      <a:r>
                        <a:rPr lang="cs-CZ" sz="1800" dirty="0" err="1" smtClean="0"/>
                        <a:t>ot</a:t>
                      </a:r>
                      <a:r>
                        <a:rPr lang="cs-CZ" sz="1800" dirty="0" smtClean="0"/>
                        <a:t>/min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Hrubovací 	  2 500 </a:t>
                      </a:r>
                      <a:r>
                        <a:rPr lang="cs-CZ" sz="1800" dirty="0" err="1" smtClean="0"/>
                        <a:t>ot</a:t>
                      </a:r>
                      <a:r>
                        <a:rPr lang="cs-CZ" sz="1800" dirty="0" smtClean="0"/>
                        <a:t>/min</a:t>
                      </a:r>
                    </a:p>
                    <a:p>
                      <a:pPr algn="ctr"/>
                      <a:r>
                        <a:rPr lang="cs-CZ" sz="1800" dirty="0" smtClean="0"/>
                        <a:t>Univerzální	  10 000 </a:t>
                      </a:r>
                      <a:r>
                        <a:rPr lang="cs-CZ" sz="1800" dirty="0" err="1" smtClean="0"/>
                        <a:t>ot</a:t>
                      </a:r>
                      <a:r>
                        <a:rPr lang="cs-CZ" sz="1800" dirty="0" smtClean="0"/>
                        <a:t>/min</a:t>
                      </a:r>
                    </a:p>
                    <a:p>
                      <a:pPr algn="ctr"/>
                      <a:r>
                        <a:rPr lang="cs-CZ" sz="1800" dirty="0" smtClean="0"/>
                        <a:t>Dokončovací	</a:t>
                      </a:r>
                      <a:r>
                        <a:rPr lang="cs-CZ" sz="1800" baseline="0" dirty="0" smtClean="0"/>
                        <a:t>  24 000 </a:t>
                      </a:r>
                      <a:r>
                        <a:rPr lang="cs-CZ" sz="1800" baseline="0" dirty="0" err="1" smtClean="0"/>
                        <a:t>ot</a:t>
                      </a:r>
                      <a:r>
                        <a:rPr lang="cs-CZ" sz="1800" baseline="0" dirty="0" smtClean="0"/>
                        <a:t>/min</a:t>
                      </a:r>
                      <a:endParaRPr lang="cs-CZ" sz="180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04876578"/>
                  </a:ext>
                </a:extLst>
              </a:tr>
              <a:tr h="412798"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Počet pozic v zásobníku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10</a:t>
                      </a:r>
                      <a:endParaRPr lang="cs-CZ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800" dirty="0" smtClean="0"/>
                        <a:t>3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62485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00339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Movie_RS_ARG2_TUHL_2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0711923" cy="6979920"/>
          </a:xfrm>
        </p:spPr>
      </p:pic>
      <p:sp>
        <p:nvSpPr>
          <p:cNvPr id="3" name="Zástupný symbol pro číslo snímku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608209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7050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c1FKeg2nGdXYo8mrAu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JU7EzUEeQoasrtNYM3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hk2S43.3pYh4CwqxdHD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ckK7I0lZqkZtfcwHchp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lOUqVSJBKIWrGZRHg2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vGRJlCp7ihR0x.myPz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qjRovqpmh3ynvwTpDL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lApV0mAirrEIm2gBcn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lApV0mAirrEIm2gBcn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To8E_RFJEz4QIdCh5H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KLuOMdTwGn1wbQRzsj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jbLyIjSDeCbljQs1ko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ŠKODA A4 Landscape CI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_SKODA_Next_G_V0.13.potx" id="{15BDB6B6-52DD-46FA-8C1B-196DEDE4501F}" vid="{18C8367A-EFBB-45CD-BF5B-F0B8B14D64B4}"/>
    </a:ext>
  </a:extLst>
</a:theme>
</file>

<file path=ppt/theme/theme2.xml><?xml version="1.0" encoding="utf-8"?>
<a:theme xmlns:a="http://schemas.openxmlformats.org/drawingml/2006/main" name="ŠKODA A4 Landscape BLUE">
  <a:themeElements>
    <a:clrScheme name="ŠKODA BLUE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0090D7"/>
      </a:accent1>
      <a:accent2>
        <a:srgbClr val="004F76"/>
      </a:accent2>
      <a:accent3>
        <a:srgbClr val="7EC9F1"/>
      </a:accent3>
      <a:accent4>
        <a:srgbClr val="777777"/>
      </a:accent4>
      <a:accent5>
        <a:srgbClr val="4A4A4A"/>
      </a:accent5>
      <a:accent6>
        <a:srgbClr val="B8B8B8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BLUE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0090D7"/>
        </a:accent1>
        <a:accent2>
          <a:srgbClr val="004F76"/>
        </a:accent2>
        <a:accent3>
          <a:srgbClr val="7EC9F1"/>
        </a:accent3>
        <a:accent4>
          <a:srgbClr val="777777"/>
        </a:accent4>
        <a:accent5>
          <a:srgbClr val="4A4A4A"/>
        </a:accent5>
        <a:accent6>
          <a:srgbClr val="004F7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_SKODA_Next_G_V0.13.potx" id="{15BDB6B6-52DD-46FA-8C1B-196DEDE4501F}" vid="{3C7A618C-BEBA-47FA-8401-8AE5C02E36FF}"/>
    </a:ext>
  </a:extLst>
</a:theme>
</file>

<file path=ppt/theme/theme3.xml><?xml version="1.0" encoding="utf-8"?>
<a:theme xmlns:a="http://schemas.openxmlformats.org/drawingml/2006/main" name="ŠKODA A4 Landscape RED">
  <a:themeElements>
    <a:clrScheme name="ŠKODA RED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E62336"/>
      </a:accent1>
      <a:accent2>
        <a:srgbClr val="B00835"/>
      </a:accent2>
      <a:accent3>
        <a:srgbClr val="EA5167"/>
      </a:accent3>
      <a:accent4>
        <a:srgbClr val="E5D1A2"/>
      </a:accent4>
      <a:accent5>
        <a:srgbClr val="878787"/>
      </a:accent5>
      <a:accent6>
        <a:srgbClr val="CECEC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RED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E62336"/>
        </a:accent1>
        <a:accent2>
          <a:srgbClr val="B00835"/>
        </a:accent2>
        <a:accent3>
          <a:srgbClr val="EA5167"/>
        </a:accent3>
        <a:accent4>
          <a:srgbClr val="E5D1A2"/>
        </a:accent4>
        <a:accent5>
          <a:srgbClr val="878787"/>
        </a:accent5>
        <a:accent6>
          <a:srgbClr val="CECEC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_SKODA_Next_G_V0.13.potx" id="{15BDB6B6-52DD-46FA-8C1B-196DEDE4501F}" vid="{C8F5CCFD-4C01-4E19-8F6D-30A066A48D8D}"/>
    </a:ext>
  </a:extLst>
</a:theme>
</file>

<file path=ppt/theme/theme4.xml><?xml version="1.0" encoding="utf-8"?>
<a:theme xmlns:a="http://schemas.openxmlformats.org/drawingml/2006/main" name="ŠKODA A4 Landscape YELLOW">
  <a:themeElements>
    <a:clrScheme name="ŠKODA YELLOW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3DA44"/>
      </a:accent1>
      <a:accent2>
        <a:srgbClr val="A2C617"/>
      </a:accent2>
      <a:accent3>
        <a:srgbClr val="FFDF43"/>
      </a:accent3>
      <a:accent4>
        <a:srgbClr val="FFF374"/>
      </a:accent4>
      <a:accent5>
        <a:srgbClr val="9D9D9D"/>
      </a:accent5>
      <a:accent6>
        <a:srgbClr val="B2B2B2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YELLOW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3DA44"/>
        </a:accent1>
        <a:accent2>
          <a:srgbClr val="A2C617"/>
        </a:accent2>
        <a:accent3>
          <a:srgbClr val="FFDF43"/>
        </a:accent3>
        <a:accent4>
          <a:srgbClr val="FFF374"/>
        </a:accent4>
        <a:accent5>
          <a:srgbClr val="9D9D9D"/>
        </a:accent5>
        <a:accent6>
          <a:srgbClr val="B2B2B2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_SKODA_Next_G_V0.13.potx" id="{15BDB6B6-52DD-46FA-8C1B-196DEDE4501F}" vid="{9D0A73EC-B6BF-447F-896C-1F8E9D8117B7}"/>
    </a:ext>
  </a:extLst>
</a:theme>
</file>

<file path=ppt/theme/theme5.xml><?xml version="1.0" encoding="utf-8"?>
<a:theme xmlns:a="http://schemas.openxmlformats.org/drawingml/2006/main" name="ŠKODA A4 Landscape TURQUOIS">
  <a:themeElements>
    <a:clrScheme name="ŠKODA TURQUOIS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15AF97"/>
      </a:accent1>
      <a:accent2>
        <a:srgbClr val="008A83"/>
      </a:accent2>
      <a:accent3>
        <a:srgbClr val="76B4AF"/>
      </a:accent3>
      <a:accent4>
        <a:srgbClr val="74A3A1"/>
      </a:accent4>
      <a:accent5>
        <a:srgbClr val="706F6F"/>
      </a:accent5>
      <a:accent6>
        <a:srgbClr val="B2B2B2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TURQUOIS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15AF97"/>
        </a:accent1>
        <a:accent2>
          <a:srgbClr val="008A83"/>
        </a:accent2>
        <a:accent3>
          <a:srgbClr val="76B4AF"/>
        </a:accent3>
        <a:accent4>
          <a:srgbClr val="74A3A1"/>
        </a:accent4>
        <a:accent5>
          <a:srgbClr val="706F6F"/>
        </a:accent5>
        <a:accent6>
          <a:srgbClr val="B2B2B2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_SKODA_Next_G_V0.13.potx" id="{15BDB6B6-52DD-46FA-8C1B-196DEDE4501F}" vid="{4A2FF1A3-8376-4C2D-99CB-5737AE9ED78B}"/>
    </a:ext>
  </a:extLst>
</a:theme>
</file>

<file path=ppt/theme/theme6.xml><?xml version="1.0" encoding="utf-8"?>
<a:theme xmlns:a="http://schemas.openxmlformats.org/drawingml/2006/main" name="ŠKODA A4 Landscape GREYSCALE">
  <a:themeElements>
    <a:clrScheme name="ŠKODA GRAYSCALE">
      <a:dk1>
        <a:sysClr val="windowText" lastClr="000000"/>
      </a:dk1>
      <a:lt1>
        <a:sysClr val="window" lastClr="FFFFFF"/>
      </a:lt1>
      <a:dk2>
        <a:srgbClr val="4B4B4B"/>
      </a:dk2>
      <a:lt2>
        <a:srgbClr val="CCCCCC"/>
      </a:lt2>
      <a:accent1>
        <a:srgbClr val="DCDCDC"/>
      </a:accent1>
      <a:accent2>
        <a:srgbClr val="BEBEBE"/>
      </a:accent2>
      <a:accent3>
        <a:srgbClr val="6E6E6E"/>
      </a:accent3>
      <a:accent4>
        <a:srgbClr val="E8E8E8"/>
      </a:accent4>
      <a:accent5>
        <a:srgbClr val="AEAEAE"/>
      </a:accent5>
      <a:accent6>
        <a:srgbClr val="8B8B8B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GRAYSCALE">
        <a:dk1>
          <a:sysClr val="windowText" lastClr="000000"/>
        </a:dk1>
        <a:lt1>
          <a:sysClr val="window" lastClr="FFFFFF"/>
        </a:lt1>
        <a:dk2>
          <a:srgbClr val="4B4B4B"/>
        </a:dk2>
        <a:lt2>
          <a:srgbClr val="CCCCCC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E8E8E8"/>
        </a:accent4>
        <a:accent5>
          <a:srgbClr val="AEAEAE"/>
        </a:accent5>
        <a:accent6>
          <a:srgbClr val="8B8B8B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  <a:extLst>
    <a:ext uri="{05A4C25C-085E-4340-85A3-A5531E510DB2}">
      <thm15:themeFamily xmlns:thm15="http://schemas.microsoft.com/office/thememl/2012/main" name="SKODA_Sablona_Na_sirku_SKODA_Next_G_V0.13.potx" id="{15BDB6B6-52DD-46FA-8C1B-196DEDE4501F}" vid="{613D2030-E910-4B9F-B0DC-EC12C328EAB6}"/>
    </a:ext>
  </a:extLst>
</a:theme>
</file>

<file path=ppt/theme/theme7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</a:theme>
</file>

<file path=ppt/theme/theme8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D22630"/>
      </a:dk2>
      <a:lt2>
        <a:srgbClr val="FFD200"/>
      </a:lt2>
      <a:accent1>
        <a:srgbClr val="DCDCDC"/>
      </a:accent1>
      <a:accent2>
        <a:srgbClr val="BEBEBE"/>
      </a:accent2>
      <a:accent3>
        <a:srgbClr val="6E6E6E"/>
      </a:accent3>
      <a:accent4>
        <a:srgbClr val="DBEED5"/>
      </a:accent4>
      <a:accent5>
        <a:srgbClr val="81C26D"/>
      </a:accent5>
      <a:accent6>
        <a:srgbClr val="4BA82E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D22630"/>
        </a:dk2>
        <a:lt2>
          <a:srgbClr val="FFD200"/>
        </a:lt2>
        <a:accent1>
          <a:srgbClr val="DCDCDC"/>
        </a:accent1>
        <a:accent2>
          <a:srgbClr val="BEBEBE"/>
        </a:accent2>
        <a:accent3>
          <a:srgbClr val="6E6E6E"/>
        </a:accent3>
        <a:accent4>
          <a:srgbClr val="DBEED5"/>
        </a:accent4>
        <a:accent5>
          <a:srgbClr val="81C26D"/>
        </a:accent5>
        <a:accent6>
          <a:srgbClr val="4BA82E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ŠKODA Green">
      <a:srgbClr val="4BA82E"/>
    </a:custClr>
    <a:custClr name="ŠKODA Chrome Grey">
      <a:srgbClr val="A7AEB4"/>
    </a:custClr>
    <a:custClr name="Warm Grey 1">
      <a:srgbClr val="E0DED8"/>
    </a:custClr>
    <a:custClr name="Warm Grey 2">
      <a:srgbClr val="D5D2CA"/>
    </a:custClr>
    <a:custClr name="Warm Grey 3">
      <a:srgbClr val="C7C2BA"/>
    </a:custClr>
    <a:custClr name="Cool Grey 1">
      <a:srgbClr val="E0E1DD"/>
    </a:custClr>
    <a:custClr name="Cool Grey 2">
      <a:srgbClr val="D5D6D2"/>
    </a:custClr>
    <a:custClr name="Cool Grey 3">
      <a:srgbClr val="C9CAC8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ODA_Sablona_Na_sirku_SKODA_Next_CONFIDENTIAL</Template>
  <TotalTime>0</TotalTime>
  <Words>748</Words>
  <Application>Microsoft Office PowerPoint</Application>
  <PresentationFormat>Vlastní</PresentationFormat>
  <Paragraphs>174</Paragraphs>
  <Slides>15</Slides>
  <Notes>6</Notes>
  <HiddenSlides>0</HiddenSlides>
  <MMClips>1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6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5</vt:i4>
      </vt:variant>
    </vt:vector>
  </HeadingPairs>
  <TitlesOfParts>
    <vt:vector size="27" baseType="lpstr">
      <vt:lpstr>Arial</vt:lpstr>
      <vt:lpstr>SKODA Next</vt:lpstr>
      <vt:lpstr>Tahoma</vt:lpstr>
      <vt:lpstr>Verdana</vt:lpstr>
      <vt:lpstr>Wingdings</vt:lpstr>
      <vt:lpstr>ŠKODA A4 Landscape CI</vt:lpstr>
      <vt:lpstr>ŠKODA A4 Landscape BLUE</vt:lpstr>
      <vt:lpstr>ŠKODA A4 Landscape RED</vt:lpstr>
      <vt:lpstr>ŠKODA A4 Landscape YELLOW</vt:lpstr>
      <vt:lpstr>ŠKODA A4 Landscape TURQUOIS</vt:lpstr>
      <vt:lpstr>ŠKODA A4 Landscape GREYSCALE</vt:lpstr>
      <vt:lpstr>think-cell Slide</vt:lpstr>
      <vt:lpstr>Zavedení nového obráběcího centra do výroby přípravků a nástrojů pro automotive</vt:lpstr>
      <vt:lpstr>Důvody k řešení dané problematiky</vt:lpstr>
      <vt:lpstr>Cíl práce</vt:lpstr>
      <vt:lpstr>Použité metody</vt:lpstr>
      <vt:lpstr>Hlavní činnosti PSW-V</vt:lpstr>
      <vt:lpstr>Přehled výroby PSW-V </vt:lpstr>
      <vt:lpstr>Portfolio strojů NC a CNC strojů</vt:lpstr>
      <vt:lpstr>Porovnání TRIMILL 3013/TRIMILL 6535</vt:lpstr>
      <vt:lpstr>Prezentace aplikace PowerPoint</vt:lpstr>
      <vt:lpstr>Testovací lože pro stroj TRIMILL 6535</vt:lpstr>
      <vt:lpstr>Porovnání obrobení součásti lože </vt:lpstr>
      <vt:lpstr>Porovnání obrobení součásti lože</vt:lpstr>
      <vt:lpstr>Závěrečné shrnutí</vt:lpstr>
      <vt:lpstr>Doplňující otázky</vt:lpstr>
      <vt:lpstr>DĚKUJI ZA POZORNOST </vt:lpstr>
    </vt:vector>
  </TitlesOfParts>
  <Manager/>
  <Company>Škoda Auto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ázev prezentace</dc:title>
  <dc:creator>Pisecky, Ales (PSW-V)</dc:creator>
  <cp:lastModifiedBy>Mikulasek, Marek (PSW-V)</cp:lastModifiedBy>
  <cp:revision>135</cp:revision>
  <cp:lastPrinted>2019-11-20T06:54:27Z</cp:lastPrinted>
  <dcterms:created xsi:type="dcterms:W3CDTF">2019-11-15T07:13:01Z</dcterms:created>
  <dcterms:modified xsi:type="dcterms:W3CDTF">2020-06-10T06:37:34Z</dcterms:modified>
</cp:coreProperties>
</file>